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charts/chart4.xml" ContentType="application/vnd.openxmlformats-officedocument.drawingml.chart+xml"/>
  <Override PartName="/ppt/charts/chart5.xml" ContentType="application/vnd.openxmlformats-officedocument.drawingml.chart+xml"/>
  <Override PartName="/ppt/charts/chart6.xml" ContentType="application/vnd.openxmlformats-officedocument.drawingml.chart+xml"/>
  <Override PartName="/ppt/charts/chart7.xml" ContentType="application/vnd.openxmlformats-officedocument.drawingml.chart+xml"/>
  <Override PartName="/ppt/charts/chart8.xml" ContentType="application/vnd.openxmlformats-officedocument.drawingml.chart+xml"/>
  <Override PartName="/ppt/charts/chart9.xml" ContentType="application/vnd.openxmlformats-officedocument.drawingml.chart+xml"/>
  <Override PartName="/ppt/charts/chart10.xml" ContentType="application/vnd.openxmlformats-officedocument.drawingml.chart+xml"/>
  <Override PartName="/ppt/charts/chart11.xml" ContentType="application/vnd.openxmlformats-officedocument.drawingml.chart+xml"/>
  <Override PartName="/ppt/charts/chart12.xml" ContentType="application/vnd.openxmlformats-officedocument.drawingml.chart+xml"/>
  <Override PartName="/ppt/charts/chart13.xml" ContentType="application/vnd.openxmlformats-officedocument.drawingml.chart+xml"/>
  <Override PartName="/ppt/charts/chart14.xml" ContentType="application/vnd.openxmlformats-officedocument.drawingml.chart+xml"/>
  <Override PartName="/ppt/charts/chart15.xml" ContentType="application/vnd.openxmlformats-officedocument.drawingml.chart+xml"/>
  <Override PartName="/ppt/charts/chart16.xml" ContentType="application/vnd.openxmlformats-officedocument.drawingml.chart+xml"/>
  <Override PartName="/ppt/charts/chart17.xml" ContentType="application/vnd.openxmlformats-officedocument.drawingml.chart+xml"/>
  <Override PartName="/ppt/charts/chart18.xml" ContentType="application/vnd.openxmlformats-officedocument.drawingml.chart+xml"/>
  <Override PartName="/ppt/charts/chart19.xml" ContentType="application/vnd.openxmlformats-officedocument.drawingml.chart+xml"/>
  <Override PartName="/ppt/charts/chart20.xml" ContentType="application/vnd.openxmlformats-officedocument.drawingml.chart+xml"/>
  <Override PartName="/ppt/charts/chart21.xml" ContentType="application/vnd.openxmlformats-officedocument.drawingml.chart+xml"/>
  <Override PartName="/ppt/charts/chart22.xml" ContentType="application/vnd.openxmlformats-officedocument.drawingml.chart+xml"/>
  <Override PartName="/ppt/charts/chart23.xml" ContentType="application/vnd.openxmlformats-officedocument.drawingml.chart+xml"/>
  <Override PartName="/ppt/charts/chart24.xml" ContentType="application/vnd.openxmlformats-officedocument.drawingml.chart+xml"/>
  <Override PartName="/ppt/charts/chart25.xml" ContentType="application/vnd.openxmlformats-officedocument.drawingml.chart+xml"/>
  <Override PartName="/ppt/charts/chart26.xml" ContentType="application/vnd.openxmlformats-officedocument.drawingml.chart+xml"/>
  <Override PartName="/ppt/charts/chart27.xml" ContentType="application/vnd.openxmlformats-officedocument.drawingml.chart+xml"/>
  <Override PartName="/ppt/charts/chart28.xml" ContentType="application/vnd.openxmlformats-officedocument.drawingml.chart+xml"/>
  <Override PartName="/ppt/charts/chart29.xml" ContentType="application/vnd.openxmlformats-officedocument.drawingml.chart+xml"/>
  <Override PartName="/ppt/charts/chart30.xml" ContentType="application/vnd.openxmlformats-officedocument.drawingml.chart+xml"/>
  <Override PartName="/ppt/charts/chart31.xml" ContentType="application/vnd.openxmlformats-officedocument.drawingml.chart+xml"/>
  <Override PartName="/ppt/charts/chart32.xml" ContentType="application/vnd.openxmlformats-officedocument.drawingml.chart+xml"/>
  <Override PartName="/ppt/charts/chart33.xml" ContentType="application/vnd.openxmlformats-officedocument.drawingml.chart+xml"/>
  <Override PartName="/ppt/charts/chart34.xml" ContentType="application/vnd.openxmlformats-officedocument.drawingml.chart+xml"/>
  <Override PartName="/ppt/charts/chart35.xml" ContentType="application/vnd.openxmlformats-officedocument.drawingml.chart+xml"/>
  <Override PartName="/ppt/charts/chart36.xml" ContentType="application/vnd.openxmlformats-officedocument.drawingml.chart+xml"/>
  <Override PartName="/ppt/charts/chart37.xml" ContentType="application/vnd.openxmlformats-officedocument.drawingml.chart+xml"/>
  <Override PartName="/ppt/charts/chart38.xml" ContentType="application/vnd.openxmlformats-officedocument.drawingml.chart+xml"/>
  <Override PartName="/ppt/charts/chart39.xml" ContentType="application/vnd.openxmlformats-officedocument.drawingml.chart+xml"/>
  <Override PartName="/ppt/charts/chart40.xml" ContentType="application/vnd.openxmlformats-officedocument.drawingml.chart+xml"/>
  <Override PartName="/ppt/charts/chart41.xml" ContentType="application/vnd.openxmlformats-officedocument.drawingml.chart+xml"/>
  <Override PartName="/ppt/charts/chart42.xml" ContentType="application/vnd.openxmlformats-officedocument.drawingml.chart+xml"/>
  <Override PartName="/ppt/charts/chart43.xml" ContentType="application/vnd.openxmlformats-officedocument.drawingml.chart+xml"/>
  <Override PartName="/ppt/charts/chart44.xml" ContentType="application/vnd.openxmlformats-officedocument.drawingml.chart+xml"/>
  <Override PartName="/ppt/charts/chart45.xml" ContentType="application/vnd.openxmlformats-officedocument.drawingml.chart+xml"/>
  <Override PartName="/ppt/charts/chart46.xml" ContentType="application/vnd.openxmlformats-officedocument.drawingml.chart+xml"/>
  <Override PartName="/ppt/charts/chart47.xml" ContentType="application/vnd.openxmlformats-officedocument.drawingml.chart+xml"/>
  <Override PartName="/ppt/charts/chart48.xml" ContentType="application/vnd.openxmlformats-officedocument.drawingml.chart+xml"/>
  <Override PartName="/docProps/core.xml" ContentType="application/vnd.openxmlformats-package.core-properties+xml"/>
  <Override PartName="/docProps/app.xml" ContentType="application/vnd.openxmlformats-officedocument.extended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86" r:id="rId1"/>
  </p:sldMasterIdLst>
  <p:sldIdLst>
    <p:sldId id="257" r:id="rId2"/>
    <p:sldId id="258" r:id="rId3"/>
    <p:sldId id="259" r:id="rId4"/>
    <p:sldId id="260" r:id="rId5"/>
    <p:sldId id="261" r:id="rId6"/>
    <p:sldId id="262" r:id="rId7"/>
    <p:sldId id="263" r:id="rId8"/>
    <p:sldId id="264" r:id="rId9"/>
    <p:sldId id="265" r:id="rId10"/>
    <p:sldId id="266" r:id="rId11"/>
  </p:sldIdLst>
  <p:sldSz cx="12192000" cy="6858000"/>
  <p:notesSz cx="6858000" cy="9144000"/>
  <p:custDataLst>
    <p:tags r:id="rId12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4660"/>
  </p:normalViewPr>
  <p:slideViewPr>
    <p:cSldViewPr snapToGrid="0">
      <p:cViewPr varScale="1">
        <p:scale>
          <a:sx n="106" d="100"/>
          <a:sy n="106" d="100"/>
        </p:scale>
        <p:origin x="792" y="1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ags" Target="tags/tag1.xml"/><Relationship Id="rId2" Type="http://schemas.openxmlformats.org/officeDocument/2006/relationships/slide" Target="slides/slide1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theme" Target="theme/theme1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_rels/chart1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9.xlsx"/></Relationships>
</file>

<file path=ppt/charts/_rels/chart1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0.xlsx"/></Relationships>
</file>

<file path=ppt/charts/_rels/chart1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1.xlsx"/></Relationships>
</file>

<file path=ppt/charts/_rels/chart1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2.xlsx"/></Relationships>
</file>

<file path=ppt/charts/_rels/chart1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3.xlsx"/></Relationships>
</file>

<file path=ppt/charts/_rels/chart1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4.xlsx"/></Relationships>
</file>

<file path=ppt/charts/_rels/chart1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5.xlsx"/></Relationships>
</file>

<file path=ppt/charts/_rels/chart1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6.xlsx"/></Relationships>
</file>

<file path=ppt/charts/_rels/chart1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7.xlsx"/></Relationships>
</file>

<file path=ppt/charts/_rels/chart1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8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_rels/chart2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9.xlsx"/></Relationships>
</file>

<file path=ppt/charts/_rels/chart2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0.xlsx"/></Relationships>
</file>

<file path=ppt/charts/_rels/chart2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1.xlsx"/></Relationships>
</file>

<file path=ppt/charts/_rels/chart2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2.xlsx"/></Relationships>
</file>

<file path=ppt/charts/_rels/chart2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3.xlsx"/></Relationships>
</file>

<file path=ppt/charts/_rels/chart2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4.xlsx"/></Relationships>
</file>

<file path=ppt/charts/_rels/chart2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5.xlsx"/></Relationships>
</file>

<file path=ppt/charts/_rels/chart2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6.xlsx"/></Relationships>
</file>

<file path=ppt/charts/_rels/chart2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7.xlsx"/></Relationships>
</file>

<file path=ppt/charts/_rels/chart2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8.xlsx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.xlsx"/></Relationships>
</file>

<file path=ppt/charts/_rels/chart3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9.xlsx"/></Relationships>
</file>

<file path=ppt/charts/_rels/chart3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0.xlsx"/></Relationships>
</file>

<file path=ppt/charts/_rels/chart3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1.xlsx"/></Relationships>
</file>

<file path=ppt/charts/_rels/chart3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2.xlsx"/></Relationships>
</file>

<file path=ppt/charts/_rels/chart3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3.xlsx"/></Relationships>
</file>

<file path=ppt/charts/_rels/chart3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4.xlsx"/></Relationships>
</file>

<file path=ppt/charts/_rels/chart3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5.xlsx"/></Relationships>
</file>

<file path=ppt/charts/_rels/chart3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6.xlsx"/></Relationships>
</file>

<file path=ppt/charts/_rels/chart3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7.xlsx"/></Relationships>
</file>

<file path=ppt/charts/_rels/chart3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8.xlsx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.xlsx"/></Relationships>
</file>

<file path=ppt/charts/_rels/chart4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9.xlsx"/></Relationships>
</file>

<file path=ppt/charts/_rels/chart4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40.xlsx"/></Relationships>
</file>

<file path=ppt/charts/_rels/chart4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41.xlsx"/></Relationships>
</file>

<file path=ppt/charts/_rels/chart4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42.xlsx"/></Relationships>
</file>

<file path=ppt/charts/_rels/chart4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43.xlsx"/></Relationships>
</file>

<file path=ppt/charts/_rels/chart4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44.xlsx"/></Relationships>
</file>

<file path=ppt/charts/_rels/chart4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45.xlsx"/></Relationships>
</file>

<file path=ppt/charts/_rels/chart4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46.xlsx"/></Relationships>
</file>

<file path=ppt/charts/_rels/chart4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47.xlsx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4.xlsx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5.xlsx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6.xlsx"/></Relationships>
</file>

<file path=ppt/charts/_rels/chart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7.xlsx"/></Relationships>
</file>

<file path=ppt/charts/_rels/chart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8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1"/>
  <c:style val="2"/>
  <c:chart>
    <c:autoTitleDeleted val="1"/>
    <c:plotArea>
      <c:layout/>
      <c:barChart>
        <c:barDir val="col"/>
        <c:grouping val="clustered"/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AST</c:v>
                </c:pt>
              </c:strCache>
            </c:strRef>
          </c:tx>
          <c:spPr>
            <a:solidFill>
              <a:schemeClr val="accent1"/>
            </a:solidFill>
          </c:spPr>
          <c:invertIfNegative val="1"/>
          <c:dLbls>
            <c:dLbl>
              <c:idx val="0"/>
              <c:tx>
                <c:rich>
                  <a:bodyPr/>
                  <a:lstStyle/>
                  <a:p>
                    <a:r>
                      <a:rPr lang="en-US" sz="1200" b="0">
                        <a:solidFill>
                          <a:srgbClr val="000000"/>
                        </a:solidFill>
                        <a:latin typeface="Calibri"/>
                      </a:rPr>
                      <a:t>$0.3MM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0-F425-4B59-BF51-F109588E55CC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r>
                      <a:rPr lang="en-US" sz="1200" b="0">
                        <a:solidFill>
                          <a:srgbClr val="000000"/>
                        </a:solidFill>
                        <a:latin typeface="Calibri"/>
                      </a:rPr>
                      <a:t>($0.1MM)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1-F425-4B59-BF51-F109588E55CC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r>
                      <a:rPr lang="en-US" sz="1200" b="0">
                        <a:solidFill>
                          <a:srgbClr val="000000"/>
                        </a:solidFill>
                        <a:latin typeface="Calibri"/>
                      </a:rPr>
                      <a:t>($0.1MM)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2-F425-4B59-BF51-F109588E55CC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4</c:f>
              <c:strCache>
                <c:ptCount val="3"/>
                <c:pt idx="0">
                  <c:v>As-Is</c:v>
                </c:pt>
                <c:pt idx="1">
                  <c:v>Best of Best</c:v>
                </c:pt>
                <c:pt idx="2">
                  <c:v>BOB Excl Suppliers</c:v>
                </c:pt>
              </c:strCache>
            </c:strRef>
          </c:cat>
          <c:val>
            <c:numRef>
              <c:f>Sheet1!$B$2:$B$4</c:f>
              <c:numCache>
                <c:formatCode>General</c:formatCode>
                <c:ptCount val="3"/>
                <c:pt idx="0">
                  <c:v>257538.11571756867</c:v>
                </c:pt>
                <c:pt idx="1">
                  <c:v>-119779.77169598364</c:v>
                </c:pt>
                <c:pt idx="2">
                  <c:v>-119779.77169598364</c:v>
                </c:pt>
              </c:numCache>
            </c:numRef>
          </c:val>
          <c:extLst>
            <c:ext xmlns:c14="http://schemas.microsoft.com/office/drawing/2007/8/2/chart" uri="{6F2FDCE9-48DA-4B69-8628-5D25D57E5C99}">
              <c14:invertSolidFillFmt>
                <c14:spPr xmlns:c14="http://schemas.microsoft.com/office/drawing/2007/8/2/chart">
                  <a:solidFill>
                    <a:srgbClr val="FFFFFF"/>
                  </a:solidFill>
                </c14:spPr>
              </c14:invertSolidFillFmt>
            </c:ext>
            <c:ext xmlns:c16="http://schemas.microsoft.com/office/drawing/2014/chart" uri="{C3380CC4-5D6E-409C-BE32-E72D297353CC}">
              <c16:uniqueId val="{00000003-F425-4B59-BF51-F109588E55CC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Current</c:v>
                </c:pt>
              </c:strCache>
            </c:strRef>
          </c:tx>
          <c:spPr>
            <a:solidFill>
              <a:schemeClr val="accent2"/>
            </a:solidFill>
          </c:spPr>
          <c:invertIfNegative val="1"/>
          <c:dLbls>
            <c:dLbl>
              <c:idx val="0"/>
              <c:tx>
                <c:rich>
                  <a:bodyPr/>
                  <a:lstStyle/>
                  <a:p>
                    <a:r>
                      <a:rPr lang="en-US" sz="1200" b="0">
                        <a:solidFill>
                          <a:srgbClr val="000000"/>
                        </a:solidFill>
                        <a:latin typeface="Calibri"/>
                      </a:rPr>
                      <a:t>$0.1MM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4-F425-4B59-BF51-F109588E55CC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r>
                      <a:rPr lang="en-US" sz="1200" b="0">
                        <a:solidFill>
                          <a:srgbClr val="000000"/>
                        </a:solidFill>
                        <a:latin typeface="Calibri"/>
                      </a:rPr>
                      <a:t>($0.1MM)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5-F425-4B59-BF51-F109588E55CC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r>
                      <a:rPr lang="en-US" sz="1200" b="0">
                        <a:solidFill>
                          <a:srgbClr val="000000"/>
                        </a:solidFill>
                        <a:latin typeface="Calibri"/>
                      </a:rPr>
                      <a:t>($0.1MM)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6-F425-4B59-BF51-F109588E55CC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4</c:f>
              <c:strCache>
                <c:ptCount val="3"/>
                <c:pt idx="0">
                  <c:v>As-Is</c:v>
                </c:pt>
                <c:pt idx="1">
                  <c:v>Best of Best</c:v>
                </c:pt>
                <c:pt idx="2">
                  <c:v>BOB Excl Suppliers</c:v>
                </c:pt>
              </c:strCache>
            </c:strRef>
          </c:cat>
          <c:val>
            <c:numRef>
              <c:f>Sheet1!$C$2:$C$4</c:f>
              <c:numCache>
                <c:formatCode>General</c:formatCode>
                <c:ptCount val="3"/>
                <c:pt idx="0">
                  <c:v>143422.33571756861</c:v>
                </c:pt>
                <c:pt idx="1">
                  <c:v>-86076.161695983596</c:v>
                </c:pt>
                <c:pt idx="2">
                  <c:v>-86076.161695983596</c:v>
                </c:pt>
              </c:numCache>
            </c:numRef>
          </c:val>
          <c:extLst>
            <c:ext xmlns:c14="http://schemas.microsoft.com/office/drawing/2007/8/2/chart" uri="{6F2FDCE9-48DA-4B69-8628-5D25D57E5C99}">
              <c14:invertSolidFillFmt>
                <c14:spPr xmlns:c14="http://schemas.microsoft.com/office/drawing/2007/8/2/chart">
                  <a:solidFill>
                    <a:srgbClr val="FFFFFF"/>
                  </a:solidFill>
                </c14:spPr>
              </c14:invertSolidFillFmt>
            </c:ext>
            <c:ext xmlns:c16="http://schemas.microsoft.com/office/drawing/2014/chart" uri="{C3380CC4-5D6E-409C-BE32-E72D297353CC}">
              <c16:uniqueId val="{00000007-F425-4B59-BF51-F109588E55C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7"/>
        <c:overlap val="-27"/>
        <c:axId val="-2068027336"/>
        <c:axId val="-2113994440"/>
      </c:barChart>
      <c:catAx>
        <c:axId val="-2068027336"/>
        <c:scaling>
          <c:orientation val="minMax"/>
        </c:scaling>
        <c:delete val="1"/>
        <c:axPos val="b"/>
        <c:numFmt formatCode="General" sourceLinked="0"/>
        <c:majorTickMark val="out"/>
        <c:minorTickMark val="none"/>
        <c:tickLblPos val="nextTo"/>
        <c:crossAx val="-2113994440"/>
        <c:crosses val="autoZero"/>
        <c:auto val="1"/>
        <c:lblAlgn val="ctr"/>
        <c:lblOffset val="100"/>
        <c:noMultiLvlLbl val="0"/>
      </c:catAx>
      <c:valAx>
        <c:axId val="-2113994440"/>
        <c:scaling>
          <c:orientation val="minMax"/>
        </c:scaling>
        <c:delete val="1"/>
        <c:axPos val="l"/>
        <c:majorGridlines>
          <c:spPr>
            <a:ln>
              <a:solidFill>
                <a:srgbClr val="C0C0C0"/>
              </a:solidFill>
            </a:ln>
          </c:spPr>
        </c:majorGridlines>
        <c:numFmt formatCode="General" sourceLinked="1"/>
        <c:majorTickMark val="out"/>
        <c:minorTickMark val="none"/>
        <c:tickLblPos val="nextTo"/>
        <c:crossAx val="-2068027336"/>
        <c:crosses val="autoZero"/>
        <c:crossBetween val="between"/>
      </c:valAx>
    </c:plotArea>
    <c:legend>
      <c:legendPos val="r"/>
      <c:overlay val="0"/>
      <c:txPr>
        <a:bodyPr/>
        <a:lstStyle/>
        <a:p>
          <a:pPr>
            <a:defRPr sz="1200">
              <a:latin typeface="Calibri"/>
            </a:defRPr>
          </a:pPr>
          <a:endParaRPr lang="en-US"/>
        </a:p>
      </c:txPr>
    </c:legend>
    <c:plotVisOnly val="1"/>
    <c:dispBlanksAs val="gap"/>
    <c:showDLblsOverMax val="1"/>
  </c:chart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1"/>
  <c:lang val="en-US"/>
  <c:roundedCorners val="1"/>
  <c:style val="2"/>
  <c:chart>
    <c:autoTitleDeleted val="1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</c:strCache>
            </c:strRef>
          </c:tx>
          <c:dPt>
            <c:idx val="0"/>
            <c:bubble3D val="0"/>
            <c:spPr>
              <a:solidFill>
                <a:srgbClr val="FFC000"/>
              </a:solidFill>
            </c:spPr>
            <c:extLst>
              <c:ext xmlns:c16="http://schemas.microsoft.com/office/drawing/2014/chart" uri="{C3380CC4-5D6E-409C-BE32-E72D297353CC}">
                <c16:uniqueId val="{00000001-5DB0-4CF3-8177-2702F0356B4A}"/>
              </c:ext>
            </c:extLst>
          </c:dPt>
          <c:cat>
            <c:strRef>
              <c:f>Sheet1!$A$2:$A$2</c:f>
              <c:strCache>
                <c:ptCount val="1"/>
                <c:pt idx="0">
                  <c:v>Supplier 2</c:v>
                </c:pt>
              </c:strCache>
            </c:strRef>
          </c:cat>
          <c:val>
            <c:numRef>
              <c:f>Sheet1!$B$2:$B$2</c:f>
              <c:numCache>
                <c:formatCode>General</c:formatCode>
                <c:ptCount val="1"/>
                <c:pt idx="0">
                  <c:v>3578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5DB0-4CF3-8177-2702F0356B4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plotVisOnly val="1"/>
    <c:dispBlanksAs val="gap"/>
    <c:showDLblsOverMax val="1"/>
  </c:chart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1"/>
  <c:lang val="en-US"/>
  <c:roundedCorners val="1"/>
  <c:style val="2"/>
  <c:chart>
    <c:autoTitleDeleted val="1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</c:strCache>
            </c:strRef>
          </c:tx>
          <c:dPt>
            <c:idx val="0"/>
            <c:bubble3D val="0"/>
            <c:spPr>
              <a:solidFill>
                <a:srgbClr val="5B9BD5"/>
              </a:solidFill>
            </c:spPr>
            <c:extLst>
              <c:ext xmlns:c16="http://schemas.microsoft.com/office/drawing/2014/chart" uri="{C3380CC4-5D6E-409C-BE32-E72D297353CC}">
                <c16:uniqueId val="{00000001-276E-4722-892D-D32CA98C1FB6}"/>
              </c:ext>
            </c:extLst>
          </c:dPt>
          <c:cat>
            <c:strRef>
              <c:f>Sheet1!$A$2:$A$2</c:f>
              <c:strCache>
                <c:ptCount val="1"/>
                <c:pt idx="0">
                  <c:v>Supplier 6</c:v>
                </c:pt>
              </c:strCache>
            </c:strRef>
          </c:cat>
          <c:val>
            <c:numRef>
              <c:f>Sheet1!$B$2:$B$2</c:f>
              <c:numCache>
                <c:formatCode>General</c:formatCode>
                <c:ptCount val="1"/>
                <c:pt idx="0">
                  <c:v>450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276E-4722-892D-D32CA98C1FB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plotVisOnly val="1"/>
    <c:dispBlanksAs val="gap"/>
    <c:showDLblsOverMax val="1"/>
  </c:chart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1"/>
  <c:lang val="en-US"/>
  <c:roundedCorners val="1"/>
  <c:style val="2"/>
  <c:chart>
    <c:autoTitleDeleted val="1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</c:strCache>
            </c:strRef>
          </c:tx>
          <c:dPt>
            <c:idx val="0"/>
            <c:bubble3D val="0"/>
            <c:spPr>
              <a:solidFill>
                <a:srgbClr val="ED7D31"/>
              </a:solidFill>
            </c:spPr>
            <c:extLst>
              <c:ext xmlns:c16="http://schemas.microsoft.com/office/drawing/2014/chart" uri="{C3380CC4-5D6E-409C-BE32-E72D297353CC}">
                <c16:uniqueId val="{00000001-BF8F-4DB9-A535-BBB9AD8476DC}"/>
              </c:ext>
            </c:extLst>
          </c:dPt>
          <c:cat>
            <c:strRef>
              <c:f>Sheet1!$A$2:$A$2</c:f>
              <c:strCache>
                <c:ptCount val="1"/>
                <c:pt idx="0">
                  <c:v>No Bid from Incumbent</c:v>
                </c:pt>
              </c:strCache>
            </c:strRef>
          </c:cat>
          <c:val>
            <c:numRef>
              <c:f>Sheet1!$B$2:$B$2</c:f>
              <c:numCache>
                <c:formatCode>General</c:formatCode>
                <c:ptCount val="1"/>
                <c:pt idx="0">
                  <c:v>450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BF8F-4DB9-A535-BBB9AD8476D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plotVisOnly val="1"/>
    <c:dispBlanksAs val="gap"/>
    <c:showDLblsOverMax val="1"/>
  </c:chart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1"/>
  <c:style val="2"/>
  <c:chart>
    <c:title>
      <c:tx>
        <c:rich>
          <a:bodyPr/>
          <a:lstStyle/>
          <a:p>
            <a:r>
              <a:t>% of Volume</a:t>
            </a:r>
          </a:p>
        </c:rich>
      </c:tx>
      <c:overlay val="0"/>
    </c:title>
    <c:autoTitleDeleted val="0"/>
    <c:plotArea>
      <c:layout/>
      <c:barChart>
        <c:barDir val="bar"/>
        <c:grouping val="stacked"/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upplier 5</c:v>
                </c:pt>
              </c:strCache>
            </c:strRef>
          </c:tx>
          <c:spPr>
            <a:solidFill>
              <a:srgbClr val="4472C4"/>
            </a:solidFill>
          </c:spPr>
          <c:invertIfNegative val="1"/>
          <c:dLbls>
            <c:numFmt formatCode="0%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000">
                    <a:solidFill>
                      <a:srgbClr val="FFFFFF"/>
                    </a:solidFill>
                  </a:defRPr>
                </a:pPr>
                <a:endParaRPr lang="en-US"/>
              </a:p>
            </c:txPr>
            <c:dLblPos val="inBase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2</c:f>
              <c:strCache>
                <c:ptCount val="1"/>
              </c:strCache>
            </c:strRef>
          </c:cat>
          <c:val>
            <c:numRef>
              <c:f>Sheet1!$B$2:$B$2</c:f>
              <c:numCache>
                <c:formatCode>General</c:formatCode>
                <c:ptCount val="1"/>
                <c:pt idx="0">
                  <c:v>0.55281196183685444</c:v>
                </c:pt>
              </c:numCache>
            </c:numRef>
          </c:val>
          <c:extLst>
            <c:ext xmlns:c14="http://schemas.microsoft.com/office/drawing/2007/8/2/chart" uri="{6F2FDCE9-48DA-4B69-8628-5D25D57E5C99}">
              <c14:invertSolidFillFmt>
                <c14:spPr xmlns:c14="http://schemas.microsoft.com/office/drawing/2007/8/2/chart">
                  <a:solidFill>
                    <a:srgbClr val="FFFFFF"/>
                  </a:solidFill>
                </c14:spPr>
              </c14:invertSolidFillFmt>
            </c:ext>
            <c:ext xmlns:c16="http://schemas.microsoft.com/office/drawing/2014/chart" uri="{C3380CC4-5D6E-409C-BE32-E72D297353CC}">
              <c16:uniqueId val="{00000000-3168-455D-9841-8F5CF664329C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upplier 2</c:v>
                </c:pt>
              </c:strCache>
            </c:strRef>
          </c:tx>
          <c:spPr>
            <a:solidFill>
              <a:srgbClr val="A5A5A5"/>
            </a:solidFill>
          </c:spPr>
          <c:invertIfNegative val="1"/>
          <c:dLbls>
            <c:numFmt formatCode="0%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000">
                    <a:solidFill>
                      <a:srgbClr val="FFFFFF"/>
                    </a:solidFill>
                  </a:defRPr>
                </a:pPr>
                <a:endParaRPr lang="en-US"/>
              </a:p>
            </c:txPr>
            <c:dLblPos val="inBase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2</c:f>
              <c:strCache>
                <c:ptCount val="1"/>
              </c:strCache>
            </c:strRef>
          </c:cat>
          <c:val>
            <c:numRef>
              <c:f>Sheet1!$C$2:$C$2</c:f>
              <c:numCache>
                <c:formatCode>General</c:formatCode>
                <c:ptCount val="1"/>
                <c:pt idx="0">
                  <c:v>0.38506812527283685</c:v>
                </c:pt>
              </c:numCache>
            </c:numRef>
          </c:val>
          <c:extLst>
            <c:ext xmlns:c14="http://schemas.microsoft.com/office/drawing/2007/8/2/chart" uri="{6F2FDCE9-48DA-4B69-8628-5D25D57E5C99}">
              <c14:invertSolidFillFmt>
                <c14:spPr xmlns:c14="http://schemas.microsoft.com/office/drawing/2007/8/2/chart">
                  <a:solidFill>
                    <a:srgbClr val="FFFFFF"/>
                  </a:solidFill>
                </c14:spPr>
              </c14:invertSolidFillFmt>
            </c:ext>
            <c:ext xmlns:c16="http://schemas.microsoft.com/office/drawing/2014/chart" uri="{C3380CC4-5D6E-409C-BE32-E72D297353CC}">
              <c16:uniqueId val="{00000001-3168-455D-9841-8F5CF664329C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upplier 4</c:v>
                </c:pt>
              </c:strCache>
            </c:strRef>
          </c:tx>
          <c:spPr>
            <a:solidFill>
              <a:srgbClr val="ED7D31"/>
            </a:solidFill>
          </c:spPr>
          <c:invertIfNegative val="1"/>
          <c:dLbls>
            <c:numFmt formatCode="0%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000">
                    <a:solidFill>
                      <a:srgbClr val="FFFFFF"/>
                    </a:solidFill>
                  </a:defRPr>
                </a:pPr>
                <a:endParaRPr lang="en-US"/>
              </a:p>
            </c:txPr>
            <c:dLblPos val="inBase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2</c:f>
              <c:strCache>
                <c:ptCount val="1"/>
              </c:strCache>
            </c:strRef>
          </c:cat>
          <c:val>
            <c:numRef>
              <c:f>Sheet1!$D$2:$D$2</c:f>
              <c:numCache>
                <c:formatCode>General</c:formatCode>
                <c:ptCount val="1"/>
                <c:pt idx="0">
                  <c:v>5.2069466934542612E-2</c:v>
                </c:pt>
              </c:numCache>
            </c:numRef>
          </c:val>
          <c:extLst>
            <c:ext xmlns:c14="http://schemas.microsoft.com/office/drawing/2007/8/2/chart" uri="{6F2FDCE9-48DA-4B69-8628-5D25D57E5C99}">
              <c14:invertSolidFillFmt>
                <c14:spPr xmlns:c14="http://schemas.microsoft.com/office/drawing/2007/8/2/chart">
                  <a:solidFill>
                    <a:srgbClr val="FFFFFF"/>
                  </a:solidFill>
                </c14:spPr>
              </c14:invertSolidFillFmt>
            </c:ext>
            <c:ext xmlns:c16="http://schemas.microsoft.com/office/drawing/2014/chart" uri="{C3380CC4-5D6E-409C-BE32-E72D297353CC}">
              <c16:uniqueId val="{00000002-3168-455D-9841-8F5CF664329C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Supplier 3</c:v>
                </c:pt>
              </c:strCache>
            </c:strRef>
          </c:tx>
          <c:spPr>
            <a:solidFill>
              <a:srgbClr val="70AD47"/>
            </a:solidFill>
          </c:spPr>
          <c:invertIfNegative val="1"/>
          <c:dLbls>
            <c:numFmt formatCode="0%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000">
                    <a:solidFill>
                      <a:srgbClr val="FFFFFF"/>
                    </a:solidFill>
                  </a:defRPr>
                </a:pPr>
                <a:endParaRPr lang="en-US"/>
              </a:p>
            </c:txPr>
            <c:dLblPos val="inBase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2</c:f>
              <c:strCache>
                <c:ptCount val="1"/>
              </c:strCache>
            </c:strRef>
          </c:cat>
          <c:val>
            <c:numRef>
              <c:f>Sheet1!$E$2:$E$2</c:f>
              <c:numCache>
                <c:formatCode>General</c:formatCode>
                <c:ptCount val="1"/>
                <c:pt idx="0">
                  <c:v>6.2083324972535808E-3</c:v>
                </c:pt>
              </c:numCache>
            </c:numRef>
          </c:val>
          <c:extLst>
            <c:ext xmlns:c14="http://schemas.microsoft.com/office/drawing/2007/8/2/chart" uri="{6F2FDCE9-48DA-4B69-8628-5D25D57E5C99}">
              <c14:invertSolidFillFmt>
                <c14:spPr xmlns:c14="http://schemas.microsoft.com/office/drawing/2007/8/2/chart">
                  <a:solidFill>
                    <a:srgbClr val="FFFFFF"/>
                  </a:solidFill>
                </c14:spPr>
              </c14:invertSolidFillFmt>
            </c:ext>
            <c:ext xmlns:c16="http://schemas.microsoft.com/office/drawing/2014/chart" uri="{C3380CC4-5D6E-409C-BE32-E72D297353CC}">
              <c16:uniqueId val="{00000003-3168-455D-9841-8F5CF664329C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Supplier 1</c:v>
                </c:pt>
              </c:strCache>
            </c:strRef>
          </c:tx>
          <c:spPr>
            <a:solidFill>
              <a:srgbClr val="FFC000"/>
            </a:solidFill>
          </c:spPr>
          <c:invertIfNegative val="1"/>
          <c:dLbls>
            <c:numFmt formatCode="0%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000">
                    <a:solidFill>
                      <a:srgbClr val="FFFFFF"/>
                    </a:solidFill>
                  </a:defRPr>
                </a:pPr>
                <a:endParaRPr lang="en-US"/>
              </a:p>
            </c:txPr>
            <c:dLblPos val="inBase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2</c:f>
              <c:strCache>
                <c:ptCount val="1"/>
              </c:strCache>
            </c:strRef>
          </c:cat>
          <c:val>
            <c:numRef>
              <c:f>Sheet1!$F$2:$F$2</c:f>
              <c:numCache>
                <c:formatCode>General</c:formatCode>
                <c:ptCount val="1"/>
                <c:pt idx="0">
                  <c:v>3.8421134585125147E-3</c:v>
                </c:pt>
              </c:numCache>
            </c:numRef>
          </c:val>
          <c:extLst>
            <c:ext xmlns:c14="http://schemas.microsoft.com/office/drawing/2007/8/2/chart" uri="{6F2FDCE9-48DA-4B69-8628-5D25D57E5C99}">
              <c14:invertSolidFillFmt>
                <c14:spPr xmlns:c14="http://schemas.microsoft.com/office/drawing/2007/8/2/chart">
                  <a:solidFill>
                    <a:srgbClr val="FFFFFF"/>
                  </a:solidFill>
                </c14:spPr>
              </c14:invertSolidFillFmt>
            </c:ext>
            <c:ext xmlns:c16="http://schemas.microsoft.com/office/drawing/2014/chart" uri="{C3380CC4-5D6E-409C-BE32-E72D297353CC}">
              <c16:uniqueId val="{00000004-3168-455D-9841-8F5CF664329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-2068027336"/>
        <c:axId val="-2113994440"/>
      </c:barChart>
      <c:catAx>
        <c:axId val="-2068027336"/>
        <c:scaling>
          <c:orientation val="minMax"/>
        </c:scaling>
        <c:delete val="0"/>
        <c:axPos val="l"/>
        <c:numFmt formatCode="General" sourceLinked="0"/>
        <c:majorTickMark val="out"/>
        <c:minorTickMark val="none"/>
        <c:tickLblPos val="nextTo"/>
        <c:crossAx val="-2113994440"/>
        <c:crosses val="autoZero"/>
        <c:auto val="1"/>
        <c:lblAlgn val="ctr"/>
        <c:lblOffset val="100"/>
        <c:noMultiLvlLbl val="0"/>
      </c:catAx>
      <c:valAx>
        <c:axId val="-2113994440"/>
        <c:scaling>
          <c:orientation val="minMax"/>
        </c:scaling>
        <c:delete val="1"/>
        <c:axPos val="b"/>
        <c:majorGridlines/>
        <c:numFmt formatCode="General" sourceLinked="1"/>
        <c:majorTickMark val="out"/>
        <c:minorTickMark val="none"/>
        <c:tickLblPos val="nextTo"/>
        <c:crossAx val="-2068027336"/>
        <c:crosses val="autoZero"/>
        <c:crossBetween val="between"/>
      </c:valAx>
    </c:plotArea>
    <c:legend>
      <c:legendPos val="b"/>
      <c:overlay val="0"/>
      <c:txPr>
        <a:bodyPr/>
        <a:lstStyle/>
        <a:p>
          <a:pPr>
            <a:defRPr sz="1200">
              <a:latin typeface="Calibri"/>
            </a:defRPr>
          </a:pPr>
          <a:endParaRPr lang="en-US"/>
        </a:p>
      </c:txPr>
    </c:legend>
    <c:plotVisOnly val="1"/>
    <c:dispBlanksAs val="gap"/>
    <c:showDLblsOverMax val="1"/>
  </c:chart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1"/>
  <c:lang val="en-US"/>
  <c:roundedCorners val="1"/>
  <c:style val="2"/>
  <c:chart>
    <c:autoTitleDeleted val="1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</c:strCache>
            </c:strRef>
          </c:tx>
          <c:dPt>
            <c:idx val="0"/>
            <c:bubble3D val="0"/>
            <c:spPr>
              <a:solidFill>
                <a:srgbClr val="FFC000"/>
              </a:solidFill>
            </c:spPr>
            <c:extLst>
              <c:ext xmlns:c16="http://schemas.microsoft.com/office/drawing/2014/chart" uri="{C3380CC4-5D6E-409C-BE32-E72D297353CC}">
                <c16:uniqueId val="{00000001-2A5F-4697-B029-15881A434B0D}"/>
              </c:ext>
            </c:extLst>
          </c:dPt>
          <c:cat>
            <c:strRef>
              <c:f>Sheet1!$A$2:$A$2</c:f>
              <c:strCache>
                <c:ptCount val="1"/>
                <c:pt idx="0">
                  <c:v>Supplier 1</c:v>
                </c:pt>
              </c:strCache>
            </c:strRef>
          </c:cat>
          <c:val>
            <c:numRef>
              <c:f>Sheet1!$B$2:$B$2</c:f>
              <c:numCache>
                <c:formatCode>General</c:formatCode>
                <c:ptCount val="1"/>
                <c:pt idx="0">
                  <c:v>343745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2A5F-4697-B029-15881A434B0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plotVisOnly val="1"/>
    <c:dispBlanksAs val="gap"/>
    <c:showDLblsOverMax val="1"/>
  </c:chart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1"/>
  <c:lang val="en-US"/>
  <c:roundedCorners val="1"/>
  <c:style val="2"/>
  <c:chart>
    <c:autoTitleDeleted val="1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</c:strCache>
            </c:strRef>
          </c:tx>
          <c:dPt>
            <c:idx val="0"/>
            <c:bubble3D val="0"/>
            <c:spPr>
              <a:solidFill>
                <a:srgbClr val="4472C4"/>
              </a:solidFill>
            </c:spPr>
            <c:extLst>
              <c:ext xmlns:c16="http://schemas.microsoft.com/office/drawing/2014/chart" uri="{C3380CC4-5D6E-409C-BE32-E72D297353CC}">
                <c16:uniqueId val="{00000001-7F86-4703-92A8-C47B7B666ECC}"/>
              </c:ext>
            </c:extLst>
          </c:dPt>
          <c:cat>
            <c:strRef>
              <c:f>Sheet1!$A$2:$A$2</c:f>
              <c:strCache>
                <c:ptCount val="1"/>
                <c:pt idx="0">
                  <c:v>Supplier 5</c:v>
                </c:pt>
              </c:strCache>
            </c:strRef>
          </c:cat>
          <c:val>
            <c:numRef>
              <c:f>Sheet1!$B$2:$B$2</c:f>
              <c:numCache>
                <c:formatCode>General</c:formatCode>
                <c:ptCount val="1"/>
                <c:pt idx="0">
                  <c:v>343745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7F86-4703-92A8-C47B7B666EC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plotVisOnly val="1"/>
    <c:dispBlanksAs val="gap"/>
    <c:showDLblsOverMax val="1"/>
  </c:chart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1"/>
  <c:lang val="en-US"/>
  <c:roundedCorners val="1"/>
  <c:style val="2"/>
  <c:chart>
    <c:autoTitleDeleted val="1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</c:strCache>
            </c:strRef>
          </c:tx>
          <c:dPt>
            <c:idx val="0"/>
            <c:bubble3D val="0"/>
            <c:spPr>
              <a:solidFill>
                <a:srgbClr val="5B9BD5"/>
              </a:solidFill>
            </c:spPr>
            <c:extLst>
              <c:ext xmlns:c16="http://schemas.microsoft.com/office/drawing/2014/chart" uri="{C3380CC4-5D6E-409C-BE32-E72D297353CC}">
                <c16:uniqueId val="{00000001-D01A-4238-A3D3-4E862842AD78}"/>
              </c:ext>
            </c:extLst>
          </c:dPt>
          <c:cat>
            <c:strRef>
              <c:f>Sheet1!$A$2:$A$2</c:f>
              <c:strCache>
                <c:ptCount val="1"/>
                <c:pt idx="0">
                  <c:v>Supplier 7</c:v>
                </c:pt>
              </c:strCache>
            </c:strRef>
          </c:cat>
          <c:val>
            <c:numRef>
              <c:f>Sheet1!$B$2:$B$2</c:f>
              <c:numCache>
                <c:formatCode>General</c:formatCode>
                <c:ptCount val="1"/>
                <c:pt idx="0">
                  <c:v>300111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D01A-4238-A3D3-4E862842AD7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plotVisOnly val="1"/>
    <c:dispBlanksAs val="gap"/>
    <c:showDLblsOverMax val="1"/>
  </c:chart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1"/>
  <c:lang val="en-US"/>
  <c:roundedCorners val="1"/>
  <c:style val="2"/>
  <c:chart>
    <c:autoTitleDeleted val="1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</c:strCache>
            </c:strRef>
          </c:tx>
          <c:dPt>
            <c:idx val="0"/>
            <c:bubble3D val="0"/>
            <c:spPr>
              <a:solidFill>
                <a:srgbClr val="A5A5A5"/>
              </a:solidFill>
            </c:spPr>
            <c:extLst>
              <c:ext xmlns:c16="http://schemas.microsoft.com/office/drawing/2014/chart" uri="{C3380CC4-5D6E-409C-BE32-E72D297353CC}">
                <c16:uniqueId val="{00000001-CBE0-4A40-91B8-6086F487760B}"/>
              </c:ext>
            </c:extLst>
          </c:dPt>
          <c:dPt>
            <c:idx val="1"/>
            <c:bubble3D val="0"/>
            <c:spPr>
              <a:solidFill>
                <a:srgbClr val="ED7D31"/>
              </a:solidFill>
            </c:spPr>
            <c:extLst>
              <c:ext xmlns:c16="http://schemas.microsoft.com/office/drawing/2014/chart" uri="{C3380CC4-5D6E-409C-BE32-E72D297353CC}">
                <c16:uniqueId val="{00000003-CBE0-4A40-91B8-6086F487760B}"/>
              </c:ext>
            </c:extLst>
          </c:dPt>
          <c:cat>
            <c:strRef>
              <c:f>Sheet1!$A$2:$A$3</c:f>
              <c:strCache>
                <c:ptCount val="2"/>
                <c:pt idx="0">
                  <c:v>Supplier 2</c:v>
                </c:pt>
                <c:pt idx="1">
                  <c:v>Supplier 4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2643634</c:v>
                </c:pt>
                <c:pt idx="1">
                  <c:v>35747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CBE0-4A40-91B8-6086F487760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plotVisOnly val="1"/>
    <c:dispBlanksAs val="gap"/>
    <c:showDLblsOverMax val="1"/>
  </c:chart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1"/>
  <c:lang val="en-US"/>
  <c:roundedCorners val="1"/>
  <c:style val="2"/>
  <c:chart>
    <c:autoTitleDeleted val="1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</c:strCache>
            </c:strRef>
          </c:tx>
          <c:dPt>
            <c:idx val="0"/>
            <c:bubble3D val="0"/>
            <c:spPr>
              <a:solidFill>
                <a:srgbClr val="ED7D31"/>
              </a:solidFill>
            </c:spPr>
            <c:extLst>
              <c:ext xmlns:c16="http://schemas.microsoft.com/office/drawing/2014/chart" uri="{C3380CC4-5D6E-409C-BE32-E72D297353CC}">
                <c16:uniqueId val="{00000001-46BD-4C7A-96DD-34361A8E703D}"/>
              </c:ext>
            </c:extLst>
          </c:dPt>
          <c:cat>
            <c:strRef>
              <c:f>Sheet1!$A$2:$A$2</c:f>
              <c:strCache>
                <c:ptCount val="1"/>
                <c:pt idx="0">
                  <c:v>Supplier 4</c:v>
                </c:pt>
              </c:strCache>
            </c:strRef>
          </c:cat>
          <c:val>
            <c:numRef>
              <c:f>Sheet1!$B$2:$B$2</c:f>
              <c:numCache>
                <c:formatCode>General</c:formatCode>
                <c:ptCount val="1"/>
                <c:pt idx="0">
                  <c:v>240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46BD-4C7A-96DD-34361A8E703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plotVisOnly val="1"/>
    <c:dispBlanksAs val="gap"/>
    <c:showDLblsOverMax val="1"/>
  </c:chart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charts/chart1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1"/>
  <c:lang val="en-US"/>
  <c:roundedCorners val="1"/>
  <c:style val="2"/>
  <c:chart>
    <c:autoTitleDeleted val="1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</c:strCache>
            </c:strRef>
          </c:tx>
          <c:dPt>
            <c:idx val="0"/>
            <c:bubble3D val="0"/>
            <c:spPr>
              <a:solidFill>
                <a:srgbClr val="FFC000"/>
              </a:solidFill>
            </c:spPr>
            <c:extLst>
              <c:ext xmlns:c16="http://schemas.microsoft.com/office/drawing/2014/chart" uri="{C3380CC4-5D6E-409C-BE32-E72D297353CC}">
                <c16:uniqueId val="{00000001-D380-4699-9541-CC61CE3A369A}"/>
              </c:ext>
            </c:extLst>
          </c:dPt>
          <c:cat>
            <c:strRef>
              <c:f>Sheet1!$A$2:$A$2</c:f>
              <c:strCache>
                <c:ptCount val="1"/>
                <c:pt idx="0">
                  <c:v>Supplier 1</c:v>
                </c:pt>
              </c:strCache>
            </c:strRef>
          </c:cat>
          <c:val>
            <c:numRef>
              <c:f>Sheet1!$B$2:$B$2</c:f>
              <c:numCache>
                <c:formatCode>General</c:formatCode>
                <c:ptCount val="1"/>
                <c:pt idx="0">
                  <c:v>240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D380-4699-9541-CC61CE3A369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plotVisOnly val="1"/>
    <c:dispBlanksAs val="gap"/>
    <c:showDLblsOverMax val="1"/>
  </c:chart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1"/>
  <c:style val="2"/>
  <c:chart>
    <c:title>
      <c:tx>
        <c:rich>
          <a:bodyPr/>
          <a:lstStyle/>
          <a:p>
            <a:r>
              <a:t>% of Volume</a:t>
            </a:r>
          </a:p>
        </c:rich>
      </c:tx>
      <c:overlay val="0"/>
    </c:title>
    <c:autoTitleDeleted val="0"/>
    <c:plotArea>
      <c:layout/>
      <c:barChart>
        <c:barDir val="bar"/>
        <c:grouping val="stacked"/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upplier 1</c:v>
                </c:pt>
              </c:strCache>
            </c:strRef>
          </c:tx>
          <c:spPr>
            <a:solidFill>
              <a:srgbClr val="4472C4"/>
            </a:solidFill>
          </c:spPr>
          <c:invertIfNegative val="1"/>
          <c:dLbls>
            <c:numFmt formatCode="0%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000">
                    <a:solidFill>
                      <a:srgbClr val="FFFFFF"/>
                    </a:solidFill>
                  </a:defRPr>
                </a:pPr>
                <a:endParaRPr lang="en-US"/>
              </a:p>
            </c:txPr>
            <c:dLblPos val="inBase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2</c:f>
              <c:strCache>
                <c:ptCount val="1"/>
              </c:strCache>
            </c:strRef>
          </c:cat>
          <c:val>
            <c:numRef>
              <c:f>Sheet1!$B$2:$B$2</c:f>
              <c:numCache>
                <c:formatCode>General</c:formatCode>
                <c:ptCount val="1"/>
                <c:pt idx="0">
                  <c:v>0.90003291216066372</c:v>
                </c:pt>
              </c:numCache>
            </c:numRef>
          </c:val>
          <c:extLst>
            <c:ext xmlns:c14="http://schemas.microsoft.com/office/drawing/2007/8/2/chart" uri="{6F2FDCE9-48DA-4B69-8628-5D25D57E5C99}">
              <c14:invertSolidFillFmt>
                <c14:spPr xmlns:c14="http://schemas.microsoft.com/office/drawing/2007/8/2/chart">
                  <a:solidFill>
                    <a:srgbClr val="FFFFFF"/>
                  </a:solidFill>
                </c14:spPr>
              </c14:invertSolidFillFmt>
            </c:ext>
            <c:ext xmlns:c16="http://schemas.microsoft.com/office/drawing/2014/chart" uri="{C3380CC4-5D6E-409C-BE32-E72D297353CC}">
              <c16:uniqueId val="{00000000-2A8C-43CC-BC4F-5A8C941B516E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upplier 2</c:v>
                </c:pt>
              </c:strCache>
            </c:strRef>
          </c:tx>
          <c:spPr>
            <a:solidFill>
              <a:srgbClr val="FFC000"/>
            </a:solidFill>
          </c:spPr>
          <c:invertIfNegative val="1"/>
          <c:dLbls>
            <c:numFmt formatCode="0%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000">
                    <a:solidFill>
                      <a:srgbClr val="FFFFFF"/>
                    </a:solidFill>
                  </a:defRPr>
                </a:pPr>
                <a:endParaRPr lang="en-US"/>
              </a:p>
            </c:txPr>
            <c:dLblPos val="inBase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2</c:f>
              <c:strCache>
                <c:ptCount val="1"/>
              </c:strCache>
            </c:strRef>
          </c:cat>
          <c:val>
            <c:numRef>
              <c:f>Sheet1!$C$2:$C$2</c:f>
              <c:numCache>
                <c:formatCode>General</c:formatCode>
                <c:ptCount val="1"/>
                <c:pt idx="0">
                  <c:v>9.368314308254197E-2</c:v>
                </c:pt>
              </c:numCache>
            </c:numRef>
          </c:val>
          <c:extLst>
            <c:ext xmlns:c14="http://schemas.microsoft.com/office/drawing/2007/8/2/chart" uri="{6F2FDCE9-48DA-4B69-8628-5D25D57E5C99}">
              <c14:invertSolidFillFmt>
                <c14:spPr xmlns:c14="http://schemas.microsoft.com/office/drawing/2007/8/2/chart">
                  <a:solidFill>
                    <a:srgbClr val="FFFFFF"/>
                  </a:solidFill>
                </c14:spPr>
              </c14:invertSolidFillFmt>
            </c:ext>
            <c:ext xmlns:c16="http://schemas.microsoft.com/office/drawing/2014/chart" uri="{C3380CC4-5D6E-409C-BE32-E72D297353CC}">
              <c16:uniqueId val="{00000001-2A8C-43CC-BC4F-5A8C941B516E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upplier 4</c:v>
                </c:pt>
              </c:strCache>
            </c:strRef>
          </c:tx>
          <c:spPr>
            <a:solidFill>
              <a:srgbClr val="A5A5A5"/>
            </a:solidFill>
          </c:spPr>
          <c:invertIfNegative val="1"/>
          <c:dLbls>
            <c:numFmt formatCode="0%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000">
                    <a:solidFill>
                      <a:srgbClr val="FFFFFF"/>
                    </a:solidFill>
                  </a:defRPr>
                </a:pPr>
                <a:endParaRPr lang="en-US"/>
              </a:p>
            </c:txPr>
            <c:dLblPos val="inBase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2</c:f>
              <c:strCache>
                <c:ptCount val="1"/>
              </c:strCache>
            </c:strRef>
          </c:cat>
          <c:val>
            <c:numRef>
              <c:f>Sheet1!$D$2:$D$2</c:f>
              <c:numCache>
                <c:formatCode>General</c:formatCode>
                <c:ptCount val="1"/>
                <c:pt idx="0">
                  <c:v>6.2839447567943187E-3</c:v>
                </c:pt>
              </c:numCache>
            </c:numRef>
          </c:val>
          <c:extLst>
            <c:ext xmlns:c14="http://schemas.microsoft.com/office/drawing/2007/8/2/chart" uri="{6F2FDCE9-48DA-4B69-8628-5D25D57E5C99}">
              <c14:invertSolidFillFmt>
                <c14:spPr xmlns:c14="http://schemas.microsoft.com/office/drawing/2007/8/2/chart">
                  <a:solidFill>
                    <a:srgbClr val="FFFFFF"/>
                  </a:solidFill>
                </c14:spPr>
              </c14:invertSolidFillFmt>
            </c:ext>
            <c:ext xmlns:c16="http://schemas.microsoft.com/office/drawing/2014/chart" uri="{C3380CC4-5D6E-409C-BE32-E72D297353CC}">
              <c16:uniqueId val="{00000002-2A8C-43CC-BC4F-5A8C941B516E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No Bid from Incumbent</c:v>
                </c:pt>
              </c:strCache>
            </c:strRef>
          </c:tx>
          <c:spPr>
            <a:solidFill>
              <a:srgbClr val="ED7D31"/>
            </a:solidFill>
          </c:spPr>
          <c:invertIfNegative val="1"/>
          <c:dLbls>
            <c:numFmt formatCode="0%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000">
                    <a:solidFill>
                      <a:srgbClr val="FFFFFF"/>
                    </a:solidFill>
                  </a:defRPr>
                </a:pPr>
                <a:endParaRPr lang="en-US"/>
              </a:p>
            </c:txPr>
            <c:dLblPos val="inBase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2</c:f>
              <c:strCache>
                <c:ptCount val="1"/>
              </c:strCache>
            </c:strRef>
          </c:cat>
          <c:val>
            <c:numRef>
              <c:f>Sheet1!$E$2:$E$2</c:f>
              <c:numCache>
                <c:formatCode>General</c:formatCode>
                <c:ptCount val="1"/>
                <c:pt idx="0">
                  <c:v>0</c:v>
                </c:pt>
              </c:numCache>
            </c:numRef>
          </c:val>
          <c:extLst>
            <c:ext xmlns:c14="http://schemas.microsoft.com/office/drawing/2007/8/2/chart" uri="{6F2FDCE9-48DA-4B69-8628-5D25D57E5C99}">
              <c14:invertSolidFillFmt>
                <c14:spPr xmlns:c14="http://schemas.microsoft.com/office/drawing/2007/8/2/chart">
                  <a:solidFill>
                    <a:srgbClr val="FFFFFF"/>
                  </a:solidFill>
                </c14:spPr>
              </c14:invertSolidFillFmt>
            </c:ext>
            <c:ext xmlns:c16="http://schemas.microsoft.com/office/drawing/2014/chart" uri="{C3380CC4-5D6E-409C-BE32-E72D297353CC}">
              <c16:uniqueId val="{00000003-2A8C-43CC-BC4F-5A8C941B516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-2068027336"/>
        <c:axId val="-2113994440"/>
      </c:barChart>
      <c:catAx>
        <c:axId val="-2068027336"/>
        <c:scaling>
          <c:orientation val="minMax"/>
        </c:scaling>
        <c:delete val="0"/>
        <c:axPos val="l"/>
        <c:numFmt formatCode="General" sourceLinked="0"/>
        <c:majorTickMark val="out"/>
        <c:minorTickMark val="none"/>
        <c:tickLblPos val="nextTo"/>
        <c:crossAx val="-2113994440"/>
        <c:crosses val="autoZero"/>
        <c:auto val="1"/>
        <c:lblAlgn val="ctr"/>
        <c:lblOffset val="100"/>
        <c:noMultiLvlLbl val="0"/>
      </c:catAx>
      <c:valAx>
        <c:axId val="-2113994440"/>
        <c:scaling>
          <c:orientation val="minMax"/>
        </c:scaling>
        <c:delete val="1"/>
        <c:axPos val="b"/>
        <c:majorGridlines/>
        <c:numFmt formatCode="General" sourceLinked="1"/>
        <c:majorTickMark val="out"/>
        <c:minorTickMark val="none"/>
        <c:tickLblPos val="nextTo"/>
        <c:crossAx val="-2068027336"/>
        <c:crosses val="autoZero"/>
        <c:crossBetween val="between"/>
      </c:valAx>
    </c:plotArea>
    <c:legend>
      <c:legendPos val="b"/>
      <c:overlay val="0"/>
      <c:txPr>
        <a:bodyPr/>
        <a:lstStyle/>
        <a:p>
          <a:pPr>
            <a:defRPr sz="1200">
              <a:latin typeface="Calibri"/>
            </a:defRPr>
          </a:pPr>
          <a:endParaRPr lang="en-US"/>
        </a:p>
      </c:txPr>
    </c:legend>
    <c:plotVisOnly val="1"/>
    <c:dispBlanksAs val="gap"/>
    <c:showDLblsOverMax val="1"/>
  </c:chart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charts/chart2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1"/>
  <c:lang val="en-US"/>
  <c:roundedCorners val="1"/>
  <c:style val="2"/>
  <c:chart>
    <c:autoTitleDeleted val="1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</c:strCache>
            </c:strRef>
          </c:tx>
          <c:dPt>
            <c:idx val="0"/>
            <c:bubble3D val="0"/>
            <c:spPr>
              <a:solidFill>
                <a:srgbClr val="A5A5A5"/>
              </a:solidFill>
            </c:spPr>
            <c:extLst>
              <c:ext xmlns:c16="http://schemas.microsoft.com/office/drawing/2014/chart" uri="{C3380CC4-5D6E-409C-BE32-E72D297353CC}">
                <c16:uniqueId val="{00000001-4171-4B1F-A4E4-0052BD9C4D6D}"/>
              </c:ext>
            </c:extLst>
          </c:dPt>
          <c:cat>
            <c:strRef>
              <c:f>Sheet1!$A$2:$A$2</c:f>
              <c:strCache>
                <c:ptCount val="1"/>
                <c:pt idx="0">
                  <c:v>Supplier 2</c:v>
                </c:pt>
              </c:strCache>
            </c:strRef>
          </c:cat>
          <c:val>
            <c:numRef>
              <c:f>Sheet1!$B$2:$B$2</c:f>
              <c:numCache>
                <c:formatCode>General</c:formatCode>
                <c:ptCount val="1"/>
                <c:pt idx="0">
                  <c:v>3578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4171-4B1F-A4E4-0052BD9C4D6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plotVisOnly val="1"/>
    <c:dispBlanksAs val="gap"/>
    <c:showDLblsOverMax val="1"/>
  </c:chart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charts/chart2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1"/>
  <c:lang val="en-US"/>
  <c:roundedCorners val="1"/>
  <c:style val="2"/>
  <c:chart>
    <c:autoTitleDeleted val="1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</c:strCache>
            </c:strRef>
          </c:tx>
          <c:dPt>
            <c:idx val="0"/>
            <c:bubble3D val="0"/>
            <c:spPr>
              <a:solidFill>
                <a:srgbClr val="4472C4"/>
              </a:solidFill>
            </c:spPr>
            <c:extLst>
              <c:ext xmlns:c16="http://schemas.microsoft.com/office/drawing/2014/chart" uri="{C3380CC4-5D6E-409C-BE32-E72D297353CC}">
                <c16:uniqueId val="{00000001-6E28-4792-9FCC-DA95075755CB}"/>
              </c:ext>
            </c:extLst>
          </c:dPt>
          <c:cat>
            <c:strRef>
              <c:f>Sheet1!$A$2:$A$2</c:f>
              <c:strCache>
                <c:ptCount val="1"/>
                <c:pt idx="0">
                  <c:v>Supplier 5</c:v>
                </c:pt>
              </c:strCache>
            </c:strRef>
          </c:cat>
          <c:val>
            <c:numRef>
              <c:f>Sheet1!$B$2:$B$2</c:f>
              <c:numCache>
                <c:formatCode>General</c:formatCode>
                <c:ptCount val="1"/>
                <c:pt idx="0">
                  <c:v>3578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6E28-4792-9FCC-DA95075755C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plotVisOnly val="1"/>
    <c:dispBlanksAs val="gap"/>
    <c:showDLblsOverMax val="1"/>
  </c:chart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charts/chart2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1"/>
  <c:lang val="en-US"/>
  <c:roundedCorners val="1"/>
  <c:style val="2"/>
  <c:chart>
    <c:autoTitleDeleted val="1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</c:strCache>
            </c:strRef>
          </c:tx>
          <c:dPt>
            <c:idx val="0"/>
            <c:bubble3D val="0"/>
            <c:spPr>
              <a:solidFill>
                <a:srgbClr val="C19859"/>
              </a:solidFill>
            </c:spPr>
            <c:extLst>
              <c:ext xmlns:c16="http://schemas.microsoft.com/office/drawing/2014/chart" uri="{C3380CC4-5D6E-409C-BE32-E72D297353CC}">
                <c16:uniqueId val="{00000001-B13B-4381-B9FE-76A7CC395F44}"/>
              </c:ext>
            </c:extLst>
          </c:dPt>
          <c:cat>
            <c:strRef>
              <c:f>Sheet1!$A$2:$A$2</c:f>
              <c:strCache>
                <c:ptCount val="1"/>
                <c:pt idx="0">
                  <c:v>Supplier 6</c:v>
                </c:pt>
              </c:strCache>
            </c:strRef>
          </c:cat>
          <c:val>
            <c:numRef>
              <c:f>Sheet1!$B$2:$B$2</c:f>
              <c:numCache>
                <c:formatCode>General</c:formatCode>
                <c:ptCount val="1"/>
                <c:pt idx="0">
                  <c:v>45000.00000000000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B13B-4381-B9FE-76A7CC395F4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plotVisOnly val="1"/>
    <c:dispBlanksAs val="gap"/>
    <c:showDLblsOverMax val="1"/>
  </c:chart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charts/chart2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1"/>
  <c:lang val="en-US"/>
  <c:roundedCorners val="1"/>
  <c:style val="2"/>
  <c:chart>
    <c:autoTitleDeleted val="1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</c:strCache>
            </c:strRef>
          </c:tx>
          <c:dPt>
            <c:idx val="0"/>
            <c:bubble3D val="0"/>
            <c:spPr>
              <a:solidFill>
                <a:srgbClr val="FFC000"/>
              </a:solidFill>
            </c:spPr>
            <c:extLst>
              <c:ext xmlns:c16="http://schemas.microsoft.com/office/drawing/2014/chart" uri="{C3380CC4-5D6E-409C-BE32-E72D297353CC}">
                <c16:uniqueId val="{00000001-4C8A-4390-BF6F-CFC83FDDE307}"/>
              </c:ext>
            </c:extLst>
          </c:dPt>
          <c:dPt>
            <c:idx val="1"/>
            <c:bubble3D val="0"/>
            <c:spPr>
              <a:solidFill>
                <a:srgbClr val="70AD47"/>
              </a:solidFill>
            </c:spPr>
            <c:extLst>
              <c:ext xmlns:c16="http://schemas.microsoft.com/office/drawing/2014/chart" uri="{C3380CC4-5D6E-409C-BE32-E72D297353CC}">
                <c16:uniqueId val="{00000003-4C8A-4390-BF6F-CFC83FDDE307}"/>
              </c:ext>
            </c:extLst>
          </c:dPt>
          <c:cat>
            <c:strRef>
              <c:f>Sheet1!$A$2:$A$3</c:f>
              <c:strCache>
                <c:ptCount val="2"/>
                <c:pt idx="0">
                  <c:v>Supplier 1</c:v>
                </c:pt>
                <c:pt idx="1">
                  <c:v>Supplier 3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2377.5189483276872</c:v>
                </c:pt>
                <c:pt idx="1">
                  <c:v>42622.48105167232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4C8A-4390-BF6F-CFC83FDDE30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plotVisOnly val="1"/>
    <c:dispBlanksAs val="gap"/>
    <c:showDLblsOverMax val="1"/>
  </c:chart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charts/chart2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1"/>
  <c:style val="2"/>
  <c:chart>
    <c:title>
      <c:tx>
        <c:rich>
          <a:bodyPr/>
          <a:lstStyle/>
          <a:p>
            <a:r>
              <a:t>% of Volume</a:t>
            </a:r>
          </a:p>
        </c:rich>
      </c:tx>
      <c:overlay val="0"/>
    </c:title>
    <c:autoTitleDeleted val="0"/>
    <c:plotArea>
      <c:layout/>
      <c:barChart>
        <c:barDir val="bar"/>
        <c:grouping val="stacked"/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upplier 5</c:v>
                </c:pt>
              </c:strCache>
            </c:strRef>
          </c:tx>
          <c:spPr>
            <a:solidFill>
              <a:srgbClr val="4472C4"/>
            </a:solidFill>
          </c:spPr>
          <c:invertIfNegative val="1"/>
          <c:dLbls>
            <c:numFmt formatCode="0%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000">
                    <a:solidFill>
                      <a:srgbClr val="FFFFFF"/>
                    </a:solidFill>
                  </a:defRPr>
                </a:pPr>
                <a:endParaRPr lang="en-US"/>
              </a:p>
            </c:txPr>
            <c:dLblPos val="inBase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2</c:f>
              <c:strCache>
                <c:ptCount val="1"/>
              </c:strCache>
            </c:strRef>
          </c:cat>
          <c:val>
            <c:numRef>
              <c:f>Sheet1!$B$2:$B$2</c:f>
              <c:numCache>
                <c:formatCode>General</c:formatCode>
                <c:ptCount val="1"/>
                <c:pt idx="0">
                  <c:v>0.55281196183685444</c:v>
                </c:pt>
              </c:numCache>
            </c:numRef>
          </c:val>
          <c:extLst>
            <c:ext xmlns:c14="http://schemas.microsoft.com/office/drawing/2007/8/2/chart" uri="{6F2FDCE9-48DA-4B69-8628-5D25D57E5C99}">
              <c14:invertSolidFillFmt>
                <c14:spPr xmlns:c14="http://schemas.microsoft.com/office/drawing/2007/8/2/chart">
                  <a:solidFill>
                    <a:srgbClr val="FFFFFF"/>
                  </a:solidFill>
                </c14:spPr>
              </c14:invertSolidFillFmt>
            </c:ext>
            <c:ext xmlns:c16="http://schemas.microsoft.com/office/drawing/2014/chart" uri="{C3380CC4-5D6E-409C-BE32-E72D297353CC}">
              <c16:uniqueId val="{00000000-1727-46D8-995F-460535E12D74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upplier 2</c:v>
                </c:pt>
              </c:strCache>
            </c:strRef>
          </c:tx>
          <c:spPr>
            <a:solidFill>
              <a:srgbClr val="A5A5A5"/>
            </a:solidFill>
          </c:spPr>
          <c:invertIfNegative val="1"/>
          <c:dLbls>
            <c:numFmt formatCode="0%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000">
                    <a:solidFill>
                      <a:srgbClr val="FFFFFF"/>
                    </a:solidFill>
                  </a:defRPr>
                </a:pPr>
                <a:endParaRPr lang="en-US"/>
              </a:p>
            </c:txPr>
            <c:dLblPos val="inBase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2</c:f>
              <c:strCache>
                <c:ptCount val="1"/>
              </c:strCache>
            </c:strRef>
          </c:cat>
          <c:val>
            <c:numRef>
              <c:f>Sheet1!$C$2:$C$2</c:f>
              <c:numCache>
                <c:formatCode>General</c:formatCode>
                <c:ptCount val="1"/>
                <c:pt idx="0">
                  <c:v>0.38506812527283685</c:v>
                </c:pt>
              </c:numCache>
            </c:numRef>
          </c:val>
          <c:extLst>
            <c:ext xmlns:c14="http://schemas.microsoft.com/office/drawing/2007/8/2/chart" uri="{6F2FDCE9-48DA-4B69-8628-5D25D57E5C99}">
              <c14:invertSolidFillFmt>
                <c14:spPr xmlns:c14="http://schemas.microsoft.com/office/drawing/2007/8/2/chart">
                  <a:solidFill>
                    <a:srgbClr val="FFFFFF"/>
                  </a:solidFill>
                </c14:spPr>
              </c14:invertSolidFillFmt>
            </c:ext>
            <c:ext xmlns:c16="http://schemas.microsoft.com/office/drawing/2014/chart" uri="{C3380CC4-5D6E-409C-BE32-E72D297353CC}">
              <c16:uniqueId val="{00000001-1727-46D8-995F-460535E12D74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upplier 4</c:v>
                </c:pt>
              </c:strCache>
            </c:strRef>
          </c:tx>
          <c:spPr>
            <a:solidFill>
              <a:srgbClr val="ED7D31"/>
            </a:solidFill>
          </c:spPr>
          <c:invertIfNegative val="1"/>
          <c:dLbls>
            <c:numFmt formatCode="0%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000">
                    <a:solidFill>
                      <a:srgbClr val="FFFFFF"/>
                    </a:solidFill>
                  </a:defRPr>
                </a:pPr>
                <a:endParaRPr lang="en-US"/>
              </a:p>
            </c:txPr>
            <c:dLblPos val="inBase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2</c:f>
              <c:strCache>
                <c:ptCount val="1"/>
              </c:strCache>
            </c:strRef>
          </c:cat>
          <c:val>
            <c:numRef>
              <c:f>Sheet1!$D$2:$D$2</c:f>
              <c:numCache>
                <c:formatCode>General</c:formatCode>
                <c:ptCount val="1"/>
                <c:pt idx="0">
                  <c:v>5.2069466934542612E-2</c:v>
                </c:pt>
              </c:numCache>
            </c:numRef>
          </c:val>
          <c:extLst>
            <c:ext xmlns:c14="http://schemas.microsoft.com/office/drawing/2007/8/2/chart" uri="{6F2FDCE9-48DA-4B69-8628-5D25D57E5C99}">
              <c14:invertSolidFillFmt>
                <c14:spPr xmlns:c14="http://schemas.microsoft.com/office/drawing/2007/8/2/chart">
                  <a:solidFill>
                    <a:srgbClr val="FFFFFF"/>
                  </a:solidFill>
                </c14:spPr>
              </c14:invertSolidFillFmt>
            </c:ext>
            <c:ext xmlns:c16="http://schemas.microsoft.com/office/drawing/2014/chart" uri="{C3380CC4-5D6E-409C-BE32-E72D297353CC}">
              <c16:uniqueId val="{00000002-1727-46D8-995F-460535E12D74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Supplier 3</c:v>
                </c:pt>
              </c:strCache>
            </c:strRef>
          </c:tx>
          <c:spPr>
            <a:solidFill>
              <a:srgbClr val="70AD47"/>
            </a:solidFill>
          </c:spPr>
          <c:invertIfNegative val="1"/>
          <c:dLbls>
            <c:numFmt formatCode="0%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000">
                    <a:solidFill>
                      <a:srgbClr val="FFFFFF"/>
                    </a:solidFill>
                  </a:defRPr>
                </a:pPr>
                <a:endParaRPr lang="en-US"/>
              </a:p>
            </c:txPr>
            <c:dLblPos val="inBase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2</c:f>
              <c:strCache>
                <c:ptCount val="1"/>
              </c:strCache>
            </c:strRef>
          </c:cat>
          <c:val>
            <c:numRef>
              <c:f>Sheet1!$E$2:$E$2</c:f>
              <c:numCache>
                <c:formatCode>General</c:formatCode>
                <c:ptCount val="1"/>
                <c:pt idx="0">
                  <c:v>6.2083324972535808E-3</c:v>
                </c:pt>
              </c:numCache>
            </c:numRef>
          </c:val>
          <c:extLst>
            <c:ext xmlns:c14="http://schemas.microsoft.com/office/drawing/2007/8/2/chart" uri="{6F2FDCE9-48DA-4B69-8628-5D25D57E5C99}">
              <c14:invertSolidFillFmt>
                <c14:spPr xmlns:c14="http://schemas.microsoft.com/office/drawing/2007/8/2/chart">
                  <a:solidFill>
                    <a:srgbClr val="FFFFFF"/>
                  </a:solidFill>
                </c14:spPr>
              </c14:invertSolidFillFmt>
            </c:ext>
            <c:ext xmlns:c16="http://schemas.microsoft.com/office/drawing/2014/chart" uri="{C3380CC4-5D6E-409C-BE32-E72D297353CC}">
              <c16:uniqueId val="{00000003-1727-46D8-995F-460535E12D74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Supplier 1</c:v>
                </c:pt>
              </c:strCache>
            </c:strRef>
          </c:tx>
          <c:spPr>
            <a:solidFill>
              <a:srgbClr val="FFC000"/>
            </a:solidFill>
          </c:spPr>
          <c:invertIfNegative val="1"/>
          <c:dLbls>
            <c:numFmt formatCode="0%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000">
                    <a:solidFill>
                      <a:srgbClr val="FFFFFF"/>
                    </a:solidFill>
                  </a:defRPr>
                </a:pPr>
                <a:endParaRPr lang="en-US"/>
              </a:p>
            </c:txPr>
            <c:dLblPos val="inBase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2</c:f>
              <c:strCache>
                <c:ptCount val="1"/>
              </c:strCache>
            </c:strRef>
          </c:cat>
          <c:val>
            <c:numRef>
              <c:f>Sheet1!$F$2:$F$2</c:f>
              <c:numCache>
                <c:formatCode>General</c:formatCode>
                <c:ptCount val="1"/>
                <c:pt idx="0">
                  <c:v>3.8421134585125147E-3</c:v>
                </c:pt>
              </c:numCache>
            </c:numRef>
          </c:val>
          <c:extLst>
            <c:ext xmlns:c14="http://schemas.microsoft.com/office/drawing/2007/8/2/chart" uri="{6F2FDCE9-48DA-4B69-8628-5D25D57E5C99}">
              <c14:invertSolidFillFmt>
                <c14:spPr xmlns:c14="http://schemas.microsoft.com/office/drawing/2007/8/2/chart">
                  <a:solidFill>
                    <a:srgbClr val="FFFFFF"/>
                  </a:solidFill>
                </c14:spPr>
              </c14:invertSolidFillFmt>
            </c:ext>
            <c:ext xmlns:c16="http://schemas.microsoft.com/office/drawing/2014/chart" uri="{C3380CC4-5D6E-409C-BE32-E72D297353CC}">
              <c16:uniqueId val="{00000004-1727-46D8-995F-460535E12D7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-2068027336"/>
        <c:axId val="-2113994440"/>
      </c:barChart>
      <c:catAx>
        <c:axId val="-2068027336"/>
        <c:scaling>
          <c:orientation val="minMax"/>
        </c:scaling>
        <c:delete val="0"/>
        <c:axPos val="l"/>
        <c:numFmt formatCode="General" sourceLinked="0"/>
        <c:majorTickMark val="out"/>
        <c:minorTickMark val="none"/>
        <c:tickLblPos val="nextTo"/>
        <c:crossAx val="-2113994440"/>
        <c:crosses val="autoZero"/>
        <c:auto val="1"/>
        <c:lblAlgn val="ctr"/>
        <c:lblOffset val="100"/>
        <c:noMultiLvlLbl val="0"/>
      </c:catAx>
      <c:valAx>
        <c:axId val="-2113994440"/>
        <c:scaling>
          <c:orientation val="minMax"/>
        </c:scaling>
        <c:delete val="1"/>
        <c:axPos val="b"/>
        <c:majorGridlines/>
        <c:numFmt formatCode="General" sourceLinked="1"/>
        <c:majorTickMark val="out"/>
        <c:minorTickMark val="none"/>
        <c:tickLblPos val="nextTo"/>
        <c:crossAx val="-2068027336"/>
        <c:crosses val="autoZero"/>
        <c:crossBetween val="between"/>
      </c:valAx>
    </c:plotArea>
    <c:legend>
      <c:legendPos val="b"/>
      <c:overlay val="0"/>
      <c:txPr>
        <a:bodyPr/>
        <a:lstStyle/>
        <a:p>
          <a:pPr>
            <a:defRPr sz="1200">
              <a:latin typeface="Calibri"/>
            </a:defRPr>
          </a:pPr>
          <a:endParaRPr lang="en-US"/>
        </a:p>
      </c:txPr>
    </c:legend>
    <c:plotVisOnly val="1"/>
    <c:dispBlanksAs val="gap"/>
    <c:showDLblsOverMax val="1"/>
  </c:chart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charts/chart2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1"/>
  <c:lang val="en-US"/>
  <c:roundedCorners val="1"/>
  <c:style val="2"/>
  <c:chart>
    <c:autoTitleDeleted val="1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</c:strCache>
            </c:strRef>
          </c:tx>
          <c:dPt>
            <c:idx val="0"/>
            <c:bubble3D val="0"/>
            <c:spPr>
              <a:solidFill>
                <a:srgbClr val="FFC000"/>
              </a:solidFill>
            </c:spPr>
            <c:extLst>
              <c:ext xmlns:c16="http://schemas.microsoft.com/office/drawing/2014/chart" uri="{C3380CC4-5D6E-409C-BE32-E72D297353CC}">
                <c16:uniqueId val="{00000001-36B8-4C3F-9F21-D677404F9057}"/>
              </c:ext>
            </c:extLst>
          </c:dPt>
          <c:cat>
            <c:strRef>
              <c:f>Sheet1!$A$2:$A$2</c:f>
              <c:strCache>
                <c:ptCount val="1"/>
                <c:pt idx="0">
                  <c:v>Supplier 1</c:v>
                </c:pt>
              </c:strCache>
            </c:strRef>
          </c:cat>
          <c:val>
            <c:numRef>
              <c:f>Sheet1!$B$2:$B$2</c:f>
              <c:numCache>
                <c:formatCode>General</c:formatCode>
                <c:ptCount val="1"/>
                <c:pt idx="0">
                  <c:v>343745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36B8-4C3F-9F21-D677404F905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plotVisOnly val="1"/>
    <c:dispBlanksAs val="gap"/>
    <c:showDLblsOverMax val="1"/>
  </c:chart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charts/chart2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1"/>
  <c:lang val="en-US"/>
  <c:roundedCorners val="1"/>
  <c:style val="2"/>
  <c:chart>
    <c:autoTitleDeleted val="1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</c:strCache>
            </c:strRef>
          </c:tx>
          <c:dPt>
            <c:idx val="0"/>
            <c:bubble3D val="0"/>
            <c:spPr>
              <a:solidFill>
                <a:srgbClr val="4472C4"/>
              </a:solidFill>
            </c:spPr>
            <c:extLst>
              <c:ext xmlns:c16="http://schemas.microsoft.com/office/drawing/2014/chart" uri="{C3380CC4-5D6E-409C-BE32-E72D297353CC}">
                <c16:uniqueId val="{00000001-8771-4D8B-85BD-5B3A493279C7}"/>
              </c:ext>
            </c:extLst>
          </c:dPt>
          <c:cat>
            <c:strRef>
              <c:f>Sheet1!$A$2:$A$2</c:f>
              <c:strCache>
                <c:ptCount val="1"/>
                <c:pt idx="0">
                  <c:v>Supplier 5</c:v>
                </c:pt>
              </c:strCache>
            </c:strRef>
          </c:cat>
          <c:val>
            <c:numRef>
              <c:f>Sheet1!$B$2:$B$2</c:f>
              <c:numCache>
                <c:formatCode>General</c:formatCode>
                <c:ptCount val="1"/>
                <c:pt idx="0">
                  <c:v>343745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8771-4D8B-85BD-5B3A493279C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plotVisOnly val="1"/>
    <c:dispBlanksAs val="gap"/>
    <c:showDLblsOverMax val="1"/>
  </c:chart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charts/chart2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1"/>
  <c:lang val="en-US"/>
  <c:roundedCorners val="1"/>
  <c:style val="2"/>
  <c:chart>
    <c:autoTitleDeleted val="1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</c:strCache>
            </c:strRef>
          </c:tx>
          <c:dPt>
            <c:idx val="0"/>
            <c:bubble3D val="0"/>
            <c:spPr>
              <a:solidFill>
                <a:srgbClr val="5B9BD5"/>
              </a:solidFill>
            </c:spPr>
            <c:extLst>
              <c:ext xmlns:c16="http://schemas.microsoft.com/office/drawing/2014/chart" uri="{C3380CC4-5D6E-409C-BE32-E72D297353CC}">
                <c16:uniqueId val="{00000001-F732-44E6-886D-68AEB47867AE}"/>
              </c:ext>
            </c:extLst>
          </c:dPt>
          <c:cat>
            <c:strRef>
              <c:f>Sheet1!$A$2:$A$2</c:f>
              <c:strCache>
                <c:ptCount val="1"/>
                <c:pt idx="0">
                  <c:v>Supplier 7</c:v>
                </c:pt>
              </c:strCache>
            </c:strRef>
          </c:cat>
          <c:val>
            <c:numRef>
              <c:f>Sheet1!$B$2:$B$2</c:f>
              <c:numCache>
                <c:formatCode>General</c:formatCode>
                <c:ptCount val="1"/>
                <c:pt idx="0">
                  <c:v>300111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F732-44E6-886D-68AEB47867A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plotVisOnly val="1"/>
    <c:dispBlanksAs val="gap"/>
    <c:showDLblsOverMax val="1"/>
  </c:chart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charts/chart2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1"/>
  <c:lang val="en-US"/>
  <c:roundedCorners val="1"/>
  <c:style val="2"/>
  <c:chart>
    <c:autoTitleDeleted val="1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</c:strCache>
            </c:strRef>
          </c:tx>
          <c:dPt>
            <c:idx val="0"/>
            <c:bubble3D val="0"/>
            <c:spPr>
              <a:solidFill>
                <a:srgbClr val="A5A5A5"/>
              </a:solidFill>
            </c:spPr>
            <c:extLst>
              <c:ext xmlns:c16="http://schemas.microsoft.com/office/drawing/2014/chart" uri="{C3380CC4-5D6E-409C-BE32-E72D297353CC}">
                <c16:uniqueId val="{00000001-F36E-45E7-BDB4-199EFABD5EA4}"/>
              </c:ext>
            </c:extLst>
          </c:dPt>
          <c:dPt>
            <c:idx val="1"/>
            <c:bubble3D val="0"/>
            <c:spPr>
              <a:solidFill>
                <a:srgbClr val="ED7D31"/>
              </a:solidFill>
            </c:spPr>
            <c:extLst>
              <c:ext xmlns:c16="http://schemas.microsoft.com/office/drawing/2014/chart" uri="{C3380CC4-5D6E-409C-BE32-E72D297353CC}">
                <c16:uniqueId val="{00000003-F36E-45E7-BDB4-199EFABD5EA4}"/>
              </c:ext>
            </c:extLst>
          </c:dPt>
          <c:cat>
            <c:strRef>
              <c:f>Sheet1!$A$2:$A$3</c:f>
              <c:strCache>
                <c:ptCount val="2"/>
                <c:pt idx="0">
                  <c:v>Supplier 2</c:v>
                </c:pt>
                <c:pt idx="1">
                  <c:v>Supplier 4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2643634</c:v>
                </c:pt>
                <c:pt idx="1">
                  <c:v>35747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F36E-45E7-BDB4-199EFABD5EA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plotVisOnly val="1"/>
    <c:dispBlanksAs val="gap"/>
    <c:showDLblsOverMax val="1"/>
  </c:chart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charts/chart2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1"/>
  <c:lang val="en-US"/>
  <c:roundedCorners val="1"/>
  <c:style val="2"/>
  <c:chart>
    <c:autoTitleDeleted val="1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</c:strCache>
            </c:strRef>
          </c:tx>
          <c:dPt>
            <c:idx val="0"/>
            <c:bubble3D val="0"/>
            <c:spPr>
              <a:solidFill>
                <a:srgbClr val="ED7D31"/>
              </a:solidFill>
            </c:spPr>
            <c:extLst>
              <c:ext xmlns:c16="http://schemas.microsoft.com/office/drawing/2014/chart" uri="{C3380CC4-5D6E-409C-BE32-E72D297353CC}">
                <c16:uniqueId val="{00000001-64C0-48AA-998C-995E33A69E4A}"/>
              </c:ext>
            </c:extLst>
          </c:dPt>
          <c:cat>
            <c:strRef>
              <c:f>Sheet1!$A$2:$A$2</c:f>
              <c:strCache>
                <c:ptCount val="1"/>
                <c:pt idx="0">
                  <c:v>Supplier 4</c:v>
                </c:pt>
              </c:strCache>
            </c:strRef>
          </c:cat>
          <c:val>
            <c:numRef>
              <c:f>Sheet1!$B$2:$B$2</c:f>
              <c:numCache>
                <c:formatCode>General</c:formatCode>
                <c:ptCount val="1"/>
                <c:pt idx="0">
                  <c:v>240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64C0-48AA-998C-995E33A69E4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plotVisOnly val="1"/>
    <c:dispBlanksAs val="gap"/>
    <c:showDLblsOverMax val="1"/>
  </c:chart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1"/>
  <c:lang val="en-US"/>
  <c:roundedCorners val="1"/>
  <c:style val="2"/>
  <c:chart>
    <c:autoTitleDeleted val="1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</c:strCache>
            </c:strRef>
          </c:tx>
          <c:dPt>
            <c:idx val="0"/>
            <c:bubble3D val="0"/>
            <c:spPr>
              <a:solidFill>
                <a:srgbClr val="4472C4"/>
              </a:solidFill>
            </c:spPr>
            <c:extLst>
              <c:ext xmlns:c16="http://schemas.microsoft.com/office/drawing/2014/chart" uri="{C3380CC4-5D6E-409C-BE32-E72D297353CC}">
                <c16:uniqueId val="{00000001-1453-4998-ACC7-53AB96371C6B}"/>
              </c:ext>
            </c:extLst>
          </c:dPt>
          <c:cat>
            <c:strRef>
              <c:f>Sheet1!$A$2:$A$2</c:f>
              <c:strCache>
                <c:ptCount val="1"/>
                <c:pt idx="0">
                  <c:v>Supplier 1</c:v>
                </c:pt>
              </c:strCache>
            </c:strRef>
          </c:cat>
          <c:val>
            <c:numRef>
              <c:f>Sheet1!$B$2:$B$2</c:f>
              <c:numCache>
                <c:formatCode>General</c:formatCode>
                <c:ptCount val="1"/>
                <c:pt idx="0">
                  <c:v>343745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1453-4998-ACC7-53AB96371C6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plotVisOnly val="1"/>
    <c:dispBlanksAs val="gap"/>
    <c:showDLblsOverMax val="1"/>
  </c:chart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charts/chart3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1"/>
  <c:lang val="en-US"/>
  <c:roundedCorners val="1"/>
  <c:style val="2"/>
  <c:chart>
    <c:autoTitleDeleted val="1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</c:strCache>
            </c:strRef>
          </c:tx>
          <c:dPt>
            <c:idx val="0"/>
            <c:bubble3D val="0"/>
            <c:spPr>
              <a:solidFill>
                <a:srgbClr val="FFC000"/>
              </a:solidFill>
            </c:spPr>
            <c:extLst>
              <c:ext xmlns:c16="http://schemas.microsoft.com/office/drawing/2014/chart" uri="{C3380CC4-5D6E-409C-BE32-E72D297353CC}">
                <c16:uniqueId val="{00000001-6AFD-4AC4-BB19-F477B016C5A8}"/>
              </c:ext>
            </c:extLst>
          </c:dPt>
          <c:cat>
            <c:strRef>
              <c:f>Sheet1!$A$2:$A$2</c:f>
              <c:strCache>
                <c:ptCount val="1"/>
                <c:pt idx="0">
                  <c:v>Supplier 1</c:v>
                </c:pt>
              </c:strCache>
            </c:strRef>
          </c:cat>
          <c:val>
            <c:numRef>
              <c:f>Sheet1!$B$2:$B$2</c:f>
              <c:numCache>
                <c:formatCode>General</c:formatCode>
                <c:ptCount val="1"/>
                <c:pt idx="0">
                  <c:v>240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6AFD-4AC4-BB19-F477B016C5A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plotVisOnly val="1"/>
    <c:dispBlanksAs val="gap"/>
    <c:showDLblsOverMax val="1"/>
  </c:chart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charts/chart3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1"/>
  <c:lang val="en-US"/>
  <c:roundedCorners val="1"/>
  <c:style val="2"/>
  <c:chart>
    <c:autoTitleDeleted val="1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</c:strCache>
            </c:strRef>
          </c:tx>
          <c:dPt>
            <c:idx val="0"/>
            <c:bubble3D val="0"/>
            <c:spPr>
              <a:solidFill>
                <a:srgbClr val="A5A5A5"/>
              </a:solidFill>
            </c:spPr>
            <c:extLst>
              <c:ext xmlns:c16="http://schemas.microsoft.com/office/drawing/2014/chart" uri="{C3380CC4-5D6E-409C-BE32-E72D297353CC}">
                <c16:uniqueId val="{00000001-1E91-41B7-ACA8-D498BAA97ADD}"/>
              </c:ext>
            </c:extLst>
          </c:dPt>
          <c:cat>
            <c:strRef>
              <c:f>Sheet1!$A$2:$A$2</c:f>
              <c:strCache>
                <c:ptCount val="1"/>
                <c:pt idx="0">
                  <c:v>Supplier 2</c:v>
                </c:pt>
              </c:strCache>
            </c:strRef>
          </c:cat>
          <c:val>
            <c:numRef>
              <c:f>Sheet1!$B$2:$B$2</c:f>
              <c:numCache>
                <c:formatCode>General</c:formatCode>
                <c:ptCount val="1"/>
                <c:pt idx="0">
                  <c:v>3578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1E91-41B7-ACA8-D498BAA97AD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plotVisOnly val="1"/>
    <c:dispBlanksAs val="gap"/>
    <c:showDLblsOverMax val="1"/>
  </c:chart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charts/chart3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1"/>
  <c:lang val="en-US"/>
  <c:roundedCorners val="1"/>
  <c:style val="2"/>
  <c:chart>
    <c:autoTitleDeleted val="1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</c:strCache>
            </c:strRef>
          </c:tx>
          <c:dPt>
            <c:idx val="0"/>
            <c:bubble3D val="0"/>
            <c:spPr>
              <a:solidFill>
                <a:srgbClr val="4472C4"/>
              </a:solidFill>
            </c:spPr>
            <c:extLst>
              <c:ext xmlns:c16="http://schemas.microsoft.com/office/drawing/2014/chart" uri="{C3380CC4-5D6E-409C-BE32-E72D297353CC}">
                <c16:uniqueId val="{00000001-81DD-4E06-9233-AFC7C39C314D}"/>
              </c:ext>
            </c:extLst>
          </c:dPt>
          <c:cat>
            <c:strRef>
              <c:f>Sheet1!$A$2:$A$2</c:f>
              <c:strCache>
                <c:ptCount val="1"/>
                <c:pt idx="0">
                  <c:v>Supplier 5</c:v>
                </c:pt>
              </c:strCache>
            </c:strRef>
          </c:cat>
          <c:val>
            <c:numRef>
              <c:f>Sheet1!$B$2:$B$2</c:f>
              <c:numCache>
                <c:formatCode>General</c:formatCode>
                <c:ptCount val="1"/>
                <c:pt idx="0">
                  <c:v>3578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81DD-4E06-9233-AFC7C39C314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plotVisOnly val="1"/>
    <c:dispBlanksAs val="gap"/>
    <c:showDLblsOverMax val="1"/>
  </c:chart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charts/chart3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1"/>
  <c:lang val="en-US"/>
  <c:roundedCorners val="1"/>
  <c:style val="2"/>
  <c:chart>
    <c:autoTitleDeleted val="1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</c:strCache>
            </c:strRef>
          </c:tx>
          <c:dPt>
            <c:idx val="0"/>
            <c:bubble3D val="0"/>
            <c:spPr>
              <a:solidFill>
                <a:srgbClr val="C19859"/>
              </a:solidFill>
            </c:spPr>
            <c:extLst>
              <c:ext xmlns:c16="http://schemas.microsoft.com/office/drawing/2014/chart" uri="{C3380CC4-5D6E-409C-BE32-E72D297353CC}">
                <c16:uniqueId val="{00000001-41C2-4BB6-A189-D4C18CFC100D}"/>
              </c:ext>
            </c:extLst>
          </c:dPt>
          <c:cat>
            <c:strRef>
              <c:f>Sheet1!$A$2:$A$2</c:f>
              <c:strCache>
                <c:ptCount val="1"/>
                <c:pt idx="0">
                  <c:v>Supplier 6</c:v>
                </c:pt>
              </c:strCache>
            </c:strRef>
          </c:cat>
          <c:val>
            <c:numRef>
              <c:f>Sheet1!$B$2:$B$2</c:f>
              <c:numCache>
                <c:formatCode>General</c:formatCode>
                <c:ptCount val="1"/>
                <c:pt idx="0">
                  <c:v>45000.00000000000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41C2-4BB6-A189-D4C18CFC100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plotVisOnly val="1"/>
    <c:dispBlanksAs val="gap"/>
    <c:showDLblsOverMax val="1"/>
  </c:chart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charts/chart3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1"/>
  <c:lang val="en-US"/>
  <c:roundedCorners val="1"/>
  <c:style val="2"/>
  <c:chart>
    <c:autoTitleDeleted val="1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</c:strCache>
            </c:strRef>
          </c:tx>
          <c:dPt>
            <c:idx val="0"/>
            <c:bubble3D val="0"/>
            <c:spPr>
              <a:solidFill>
                <a:srgbClr val="FFC000"/>
              </a:solidFill>
            </c:spPr>
            <c:extLst>
              <c:ext xmlns:c16="http://schemas.microsoft.com/office/drawing/2014/chart" uri="{C3380CC4-5D6E-409C-BE32-E72D297353CC}">
                <c16:uniqueId val="{00000001-B815-429F-94FD-BEAF5BE0B4E0}"/>
              </c:ext>
            </c:extLst>
          </c:dPt>
          <c:dPt>
            <c:idx val="1"/>
            <c:bubble3D val="0"/>
            <c:spPr>
              <a:solidFill>
                <a:srgbClr val="70AD47"/>
              </a:solidFill>
            </c:spPr>
            <c:extLst>
              <c:ext xmlns:c16="http://schemas.microsoft.com/office/drawing/2014/chart" uri="{C3380CC4-5D6E-409C-BE32-E72D297353CC}">
                <c16:uniqueId val="{00000003-B815-429F-94FD-BEAF5BE0B4E0}"/>
              </c:ext>
            </c:extLst>
          </c:dPt>
          <c:cat>
            <c:strRef>
              <c:f>Sheet1!$A$2:$A$3</c:f>
              <c:strCache>
                <c:ptCount val="2"/>
                <c:pt idx="0">
                  <c:v>Supplier 1</c:v>
                </c:pt>
                <c:pt idx="1">
                  <c:v>Supplier 3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2377.5189483276872</c:v>
                </c:pt>
                <c:pt idx="1">
                  <c:v>42622.48105167232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B815-429F-94FD-BEAF5BE0B4E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plotVisOnly val="1"/>
    <c:dispBlanksAs val="gap"/>
    <c:showDLblsOverMax val="1"/>
  </c:chart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charts/chart3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1"/>
  <c:style val="2"/>
  <c:chart>
    <c:autoTitleDeleted val="1"/>
    <c:plotArea>
      <c:layout/>
      <c:barChart>
        <c:barDir val="col"/>
        <c:grouping val="clustered"/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AST</c:v>
                </c:pt>
              </c:strCache>
            </c:strRef>
          </c:tx>
          <c:spPr>
            <a:solidFill>
              <a:schemeClr val="accent1"/>
            </a:solidFill>
          </c:spPr>
          <c:invertIfNegative val="1"/>
          <c:dLbls>
            <c:dLbl>
              <c:idx val="0"/>
              <c:tx>
                <c:rich>
                  <a:bodyPr/>
                  <a:lstStyle/>
                  <a:p>
                    <a:r>
                      <a:rPr sz="1200" b="0">
                        <a:solidFill>
                          <a:srgbClr val="000000"/>
                        </a:solidFill>
                        <a:latin typeface="Calibri"/>
                      </a:rPr>
                      <a:t>$0.3MM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0-9577-4DC8-AED1-C31FB73A36F1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2</c:f>
              <c:strCache>
                <c:ptCount val="1"/>
                <c:pt idx="0">
                  <c:v>As-Is Excl Suppliers</c:v>
                </c:pt>
              </c:strCache>
            </c:strRef>
          </c:cat>
          <c:val>
            <c:numRef>
              <c:f>Sheet1!$B$2:$B$2</c:f>
              <c:numCache>
                <c:formatCode>General</c:formatCode>
                <c:ptCount val="1"/>
                <c:pt idx="0">
                  <c:v>257538.11571756867</c:v>
                </c:pt>
              </c:numCache>
            </c:numRef>
          </c:val>
          <c:extLst>
            <c:ext xmlns:c14="http://schemas.microsoft.com/office/drawing/2007/8/2/chart" uri="{6F2FDCE9-48DA-4B69-8628-5D25D57E5C99}">
              <c14:invertSolidFillFmt>
                <c14:spPr xmlns:c14="http://schemas.microsoft.com/office/drawing/2007/8/2/chart">
                  <a:solidFill>
                    <a:srgbClr val="FFFFFF"/>
                  </a:solidFill>
                </c14:spPr>
              </c14:invertSolidFillFmt>
            </c:ext>
            <c:ext xmlns:c16="http://schemas.microsoft.com/office/drawing/2014/chart" uri="{C3380CC4-5D6E-409C-BE32-E72D297353CC}">
              <c16:uniqueId val="{00000001-9577-4DC8-AED1-C31FB73A36F1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Current</c:v>
                </c:pt>
              </c:strCache>
            </c:strRef>
          </c:tx>
          <c:spPr>
            <a:solidFill>
              <a:schemeClr val="accent2"/>
            </a:solidFill>
          </c:spPr>
          <c:invertIfNegative val="1"/>
          <c:dLbls>
            <c:dLbl>
              <c:idx val="0"/>
              <c:tx>
                <c:rich>
                  <a:bodyPr/>
                  <a:lstStyle/>
                  <a:p>
                    <a:r>
                      <a:rPr sz="1200" b="0">
                        <a:solidFill>
                          <a:srgbClr val="000000"/>
                        </a:solidFill>
                        <a:latin typeface="Calibri"/>
                      </a:rPr>
                      <a:t>$0.1MM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2-9577-4DC8-AED1-C31FB73A36F1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2</c:f>
              <c:strCache>
                <c:ptCount val="1"/>
                <c:pt idx="0">
                  <c:v>As-Is Excl Suppliers</c:v>
                </c:pt>
              </c:strCache>
            </c:strRef>
          </c:cat>
          <c:val>
            <c:numRef>
              <c:f>Sheet1!$C$2:$C$2</c:f>
              <c:numCache>
                <c:formatCode>General</c:formatCode>
                <c:ptCount val="1"/>
                <c:pt idx="0">
                  <c:v>143422.33571756861</c:v>
                </c:pt>
              </c:numCache>
            </c:numRef>
          </c:val>
          <c:extLst>
            <c:ext xmlns:c14="http://schemas.microsoft.com/office/drawing/2007/8/2/chart" uri="{6F2FDCE9-48DA-4B69-8628-5D25D57E5C99}">
              <c14:invertSolidFillFmt>
                <c14:spPr xmlns:c14="http://schemas.microsoft.com/office/drawing/2007/8/2/chart">
                  <a:solidFill>
                    <a:srgbClr val="FFFFFF"/>
                  </a:solidFill>
                </c14:spPr>
              </c14:invertSolidFillFmt>
            </c:ext>
            <c:ext xmlns:c16="http://schemas.microsoft.com/office/drawing/2014/chart" uri="{C3380CC4-5D6E-409C-BE32-E72D297353CC}">
              <c16:uniqueId val="{00000003-9577-4DC8-AED1-C31FB73A36F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7"/>
        <c:overlap val="-27"/>
        <c:axId val="-2068027336"/>
        <c:axId val="-2113994440"/>
      </c:barChart>
      <c:catAx>
        <c:axId val="-2068027336"/>
        <c:scaling>
          <c:orientation val="minMax"/>
        </c:scaling>
        <c:delete val="1"/>
        <c:axPos val="b"/>
        <c:numFmt formatCode="General" sourceLinked="0"/>
        <c:majorTickMark val="out"/>
        <c:minorTickMark val="none"/>
        <c:tickLblPos val="nextTo"/>
        <c:crossAx val="-2113994440"/>
        <c:crosses val="autoZero"/>
        <c:auto val="1"/>
        <c:lblAlgn val="ctr"/>
        <c:lblOffset val="100"/>
        <c:noMultiLvlLbl val="0"/>
      </c:catAx>
      <c:valAx>
        <c:axId val="-2113994440"/>
        <c:scaling>
          <c:orientation val="minMax"/>
        </c:scaling>
        <c:delete val="1"/>
        <c:axPos val="l"/>
        <c:majorGridlines>
          <c:spPr>
            <a:ln>
              <a:solidFill>
                <a:srgbClr val="C0C0C0"/>
              </a:solidFill>
            </a:ln>
          </c:spPr>
        </c:majorGridlines>
        <c:numFmt formatCode="General" sourceLinked="1"/>
        <c:majorTickMark val="out"/>
        <c:minorTickMark val="none"/>
        <c:tickLblPos val="nextTo"/>
        <c:crossAx val="-2068027336"/>
        <c:crosses val="autoZero"/>
        <c:crossBetween val="between"/>
      </c:valAx>
    </c:plotArea>
    <c:legend>
      <c:legendPos val="r"/>
      <c:overlay val="0"/>
      <c:txPr>
        <a:bodyPr/>
        <a:lstStyle/>
        <a:p>
          <a:pPr>
            <a:defRPr sz="1200">
              <a:latin typeface="Calibri"/>
            </a:defRPr>
          </a:pPr>
          <a:endParaRPr lang="en-US"/>
        </a:p>
      </c:txPr>
    </c:legend>
    <c:plotVisOnly val="1"/>
    <c:dispBlanksAs val="gap"/>
    <c:showDLblsOverMax val="1"/>
  </c:chart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charts/chart3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1"/>
  <c:style val="2"/>
  <c:chart>
    <c:title>
      <c:tx>
        <c:rich>
          <a:bodyPr/>
          <a:lstStyle/>
          <a:p>
            <a:r>
              <a:t>% of Volume</a:t>
            </a:r>
          </a:p>
        </c:rich>
      </c:tx>
      <c:overlay val="0"/>
    </c:title>
    <c:autoTitleDeleted val="0"/>
    <c:plotArea>
      <c:layout/>
      <c:barChart>
        <c:barDir val="bar"/>
        <c:grouping val="stacked"/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upplier 1</c:v>
                </c:pt>
              </c:strCache>
            </c:strRef>
          </c:tx>
          <c:spPr>
            <a:solidFill>
              <a:srgbClr val="4472C4"/>
            </a:solidFill>
          </c:spPr>
          <c:invertIfNegative val="1"/>
          <c:dLbls>
            <c:numFmt formatCode="0%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000">
                    <a:solidFill>
                      <a:srgbClr val="FFFFFF"/>
                    </a:solidFill>
                  </a:defRPr>
                </a:pPr>
                <a:endParaRPr lang="en-US"/>
              </a:p>
            </c:txPr>
            <c:dLblPos val="inBase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2</c:f>
              <c:strCache>
                <c:ptCount val="1"/>
              </c:strCache>
            </c:strRef>
          </c:cat>
          <c:val>
            <c:numRef>
              <c:f>Sheet1!$B$2:$B$2</c:f>
              <c:numCache>
                <c:formatCode>General</c:formatCode>
                <c:ptCount val="1"/>
                <c:pt idx="0">
                  <c:v>0.50069530150391084</c:v>
                </c:pt>
              </c:numCache>
            </c:numRef>
          </c:val>
          <c:extLst>
            <c:ext xmlns:c14="http://schemas.microsoft.com/office/drawing/2007/8/2/chart" uri="{6F2FDCE9-48DA-4B69-8628-5D25D57E5C99}">
              <c14:invertSolidFillFmt>
                <c14:spPr xmlns:c14="http://schemas.microsoft.com/office/drawing/2007/8/2/chart">
                  <a:solidFill>
                    <a:srgbClr val="FFFFFF"/>
                  </a:solidFill>
                </c14:spPr>
              </c14:invertSolidFillFmt>
            </c:ext>
            <c:ext xmlns:c16="http://schemas.microsoft.com/office/drawing/2014/chart" uri="{C3380CC4-5D6E-409C-BE32-E72D297353CC}">
              <c16:uniqueId val="{00000000-BF0C-40AC-B2BB-912790DE13E2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Unallocated</c:v>
                </c:pt>
              </c:strCache>
            </c:strRef>
          </c:tx>
          <c:spPr>
            <a:solidFill>
              <a:srgbClr val="ED7D31"/>
            </a:solidFill>
          </c:spPr>
          <c:invertIfNegative val="1"/>
          <c:dLbls>
            <c:numFmt formatCode="0%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000">
                    <a:solidFill>
                      <a:srgbClr val="FFFFFF"/>
                    </a:solidFill>
                  </a:defRPr>
                </a:pPr>
                <a:endParaRPr lang="en-US"/>
              </a:p>
            </c:txPr>
            <c:dLblPos val="inBase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2</c:f>
              <c:strCache>
                <c:ptCount val="1"/>
              </c:strCache>
            </c:strRef>
          </c:cat>
          <c:val>
            <c:numRef>
              <c:f>Sheet1!$C$2:$C$2</c:f>
              <c:numCache>
                <c:formatCode>General</c:formatCode>
                <c:ptCount val="1"/>
                <c:pt idx="0">
                  <c:v>0.44369223087418341</c:v>
                </c:pt>
              </c:numCache>
            </c:numRef>
          </c:val>
          <c:extLst>
            <c:ext xmlns:c14="http://schemas.microsoft.com/office/drawing/2007/8/2/chart" uri="{6F2FDCE9-48DA-4B69-8628-5D25D57E5C99}">
              <c14:invertSolidFillFmt>
                <c14:spPr xmlns:c14="http://schemas.microsoft.com/office/drawing/2007/8/2/chart">
                  <a:solidFill>
                    <a:srgbClr val="FFFFFF"/>
                  </a:solidFill>
                </c14:spPr>
              </c14:invertSolidFillFmt>
            </c:ext>
            <c:ext xmlns:c16="http://schemas.microsoft.com/office/drawing/2014/chart" uri="{C3380CC4-5D6E-409C-BE32-E72D297353CC}">
              <c16:uniqueId val="{00000001-BF0C-40AC-B2BB-912790DE13E2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upplier 2</c:v>
                </c:pt>
              </c:strCache>
            </c:strRef>
          </c:tx>
          <c:spPr>
            <a:solidFill>
              <a:srgbClr val="FFC000"/>
            </a:solidFill>
          </c:spPr>
          <c:invertIfNegative val="1"/>
          <c:dLbls>
            <c:numFmt formatCode="0%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000">
                    <a:solidFill>
                      <a:srgbClr val="FFFFFF"/>
                    </a:solidFill>
                  </a:defRPr>
                </a:pPr>
                <a:endParaRPr lang="en-US"/>
              </a:p>
            </c:txPr>
            <c:dLblPos val="inBase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2</c:f>
              <c:strCache>
                <c:ptCount val="1"/>
              </c:strCache>
            </c:strRef>
          </c:cat>
          <c:val>
            <c:numRef>
              <c:f>Sheet1!$D$2:$D$2</c:f>
              <c:numCache>
                <c:formatCode>General</c:formatCode>
                <c:ptCount val="1"/>
                <c:pt idx="0">
                  <c:v>5.2116660332943598E-2</c:v>
                </c:pt>
              </c:numCache>
            </c:numRef>
          </c:val>
          <c:extLst>
            <c:ext xmlns:c14="http://schemas.microsoft.com/office/drawing/2007/8/2/chart" uri="{6F2FDCE9-48DA-4B69-8628-5D25D57E5C99}">
              <c14:invertSolidFillFmt>
                <c14:spPr xmlns:c14="http://schemas.microsoft.com/office/drawing/2007/8/2/chart">
                  <a:solidFill>
                    <a:srgbClr val="FFFFFF"/>
                  </a:solidFill>
                </c14:spPr>
              </c14:invertSolidFillFmt>
            </c:ext>
            <c:ext xmlns:c16="http://schemas.microsoft.com/office/drawing/2014/chart" uri="{C3380CC4-5D6E-409C-BE32-E72D297353CC}">
              <c16:uniqueId val="{00000002-BF0C-40AC-B2BB-912790DE13E2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Supplier 4</c:v>
                </c:pt>
              </c:strCache>
            </c:strRef>
          </c:tx>
          <c:spPr>
            <a:solidFill>
              <a:srgbClr val="A5A5A5"/>
            </a:solidFill>
          </c:spPr>
          <c:invertIfNegative val="1"/>
          <c:dLbls>
            <c:numFmt formatCode="0%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000">
                    <a:solidFill>
                      <a:srgbClr val="FFFFFF"/>
                    </a:solidFill>
                  </a:defRPr>
                </a:pPr>
                <a:endParaRPr lang="en-US"/>
              </a:p>
            </c:txPr>
            <c:dLblPos val="inBase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2</c:f>
              <c:strCache>
                <c:ptCount val="1"/>
              </c:strCache>
            </c:strRef>
          </c:cat>
          <c:val>
            <c:numRef>
              <c:f>Sheet1!$E$2:$E$2</c:f>
              <c:numCache>
                <c:formatCode>General</c:formatCode>
                <c:ptCount val="1"/>
                <c:pt idx="0">
                  <c:v>3.4958072889621195E-3</c:v>
                </c:pt>
              </c:numCache>
            </c:numRef>
          </c:val>
          <c:extLst>
            <c:ext xmlns:c14="http://schemas.microsoft.com/office/drawing/2007/8/2/chart" uri="{6F2FDCE9-48DA-4B69-8628-5D25D57E5C99}">
              <c14:invertSolidFillFmt>
                <c14:spPr xmlns:c14="http://schemas.microsoft.com/office/drawing/2007/8/2/chart">
                  <a:solidFill>
                    <a:srgbClr val="FFFFFF"/>
                  </a:solidFill>
                </c14:spPr>
              </c14:invertSolidFillFmt>
            </c:ext>
            <c:ext xmlns:c16="http://schemas.microsoft.com/office/drawing/2014/chart" uri="{C3380CC4-5D6E-409C-BE32-E72D297353CC}">
              <c16:uniqueId val="{00000003-BF0C-40AC-B2BB-912790DE13E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-2068027336"/>
        <c:axId val="-2113994440"/>
      </c:barChart>
      <c:catAx>
        <c:axId val="-2068027336"/>
        <c:scaling>
          <c:orientation val="minMax"/>
        </c:scaling>
        <c:delete val="0"/>
        <c:axPos val="l"/>
        <c:numFmt formatCode="General" sourceLinked="0"/>
        <c:majorTickMark val="out"/>
        <c:minorTickMark val="none"/>
        <c:tickLblPos val="nextTo"/>
        <c:crossAx val="-2113994440"/>
        <c:crosses val="autoZero"/>
        <c:auto val="1"/>
        <c:lblAlgn val="ctr"/>
        <c:lblOffset val="100"/>
        <c:noMultiLvlLbl val="0"/>
      </c:catAx>
      <c:valAx>
        <c:axId val="-2113994440"/>
        <c:scaling>
          <c:orientation val="minMax"/>
        </c:scaling>
        <c:delete val="1"/>
        <c:axPos val="b"/>
        <c:majorGridlines/>
        <c:numFmt formatCode="General" sourceLinked="1"/>
        <c:majorTickMark val="out"/>
        <c:minorTickMark val="none"/>
        <c:tickLblPos val="nextTo"/>
        <c:crossAx val="-2068027336"/>
        <c:crosses val="autoZero"/>
        <c:crossBetween val="between"/>
      </c:valAx>
    </c:plotArea>
    <c:legend>
      <c:legendPos val="b"/>
      <c:overlay val="0"/>
      <c:txPr>
        <a:bodyPr/>
        <a:lstStyle/>
        <a:p>
          <a:pPr>
            <a:defRPr sz="1200">
              <a:latin typeface="Calibri"/>
            </a:defRPr>
          </a:pPr>
          <a:endParaRPr lang="en-US"/>
        </a:p>
      </c:txPr>
    </c:legend>
    <c:plotVisOnly val="1"/>
    <c:dispBlanksAs val="gap"/>
    <c:showDLblsOverMax val="1"/>
  </c:chart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charts/chart3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1"/>
  <c:lang val="en-US"/>
  <c:roundedCorners val="1"/>
  <c:style val="2"/>
  <c:chart>
    <c:autoTitleDeleted val="1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</c:strCache>
            </c:strRef>
          </c:tx>
          <c:dPt>
            <c:idx val="0"/>
            <c:bubble3D val="0"/>
            <c:spPr>
              <a:solidFill>
                <a:srgbClr val="4472C4"/>
              </a:solidFill>
            </c:spPr>
            <c:extLst>
              <c:ext xmlns:c16="http://schemas.microsoft.com/office/drawing/2014/chart" uri="{C3380CC4-5D6E-409C-BE32-E72D297353CC}">
                <c16:uniqueId val="{00000001-2AD8-4B49-BE25-E17AE62C1A93}"/>
              </c:ext>
            </c:extLst>
          </c:dPt>
          <c:cat>
            <c:strRef>
              <c:f>Sheet1!$A$2:$A$2</c:f>
              <c:strCache>
                <c:ptCount val="1"/>
                <c:pt idx="0">
                  <c:v>Supplier 1</c:v>
                </c:pt>
              </c:strCache>
            </c:strRef>
          </c:cat>
          <c:val>
            <c:numRef>
              <c:f>Sheet1!$B$2:$B$2</c:f>
              <c:numCache>
                <c:formatCode>General</c:formatCode>
                <c:ptCount val="1"/>
                <c:pt idx="0">
                  <c:v>343745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2AD8-4B49-BE25-E17AE62C1A9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plotVisOnly val="1"/>
    <c:dispBlanksAs val="gap"/>
    <c:showDLblsOverMax val="1"/>
  </c:chart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charts/chart3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1"/>
  <c:lang val="en-US"/>
  <c:roundedCorners val="1"/>
  <c:style val="2"/>
  <c:chart>
    <c:autoTitleDeleted val="1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</c:strCache>
            </c:strRef>
          </c:tx>
          <c:dPt>
            <c:idx val="0"/>
            <c:bubble3D val="0"/>
            <c:spPr>
              <a:solidFill>
                <a:srgbClr val="4472C4"/>
              </a:solidFill>
            </c:spPr>
            <c:extLst>
              <c:ext xmlns:c16="http://schemas.microsoft.com/office/drawing/2014/chart" uri="{C3380CC4-5D6E-409C-BE32-E72D297353CC}">
                <c16:uniqueId val="{00000001-7E66-448A-913B-34BAB04B69B9}"/>
              </c:ext>
            </c:extLst>
          </c:dPt>
          <c:cat>
            <c:strRef>
              <c:f>Sheet1!$A$2:$A$2</c:f>
              <c:strCache>
                <c:ptCount val="1"/>
                <c:pt idx="0">
                  <c:v>Supplier 1</c:v>
                </c:pt>
              </c:strCache>
            </c:strRef>
          </c:cat>
          <c:val>
            <c:numRef>
              <c:f>Sheet1!$B$2:$B$2</c:f>
              <c:numCache>
                <c:formatCode>General</c:formatCode>
                <c:ptCount val="1"/>
                <c:pt idx="0">
                  <c:v>343745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7E66-448A-913B-34BAB04B69B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plotVisOnly val="1"/>
    <c:dispBlanksAs val="gap"/>
    <c:showDLblsOverMax val="1"/>
  </c:chart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charts/chart3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1"/>
  <c:lang val="en-US"/>
  <c:roundedCorners val="1"/>
  <c:style val="2"/>
  <c:chart>
    <c:autoTitleDeleted val="1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</c:strCache>
            </c:strRef>
          </c:tx>
          <c:dPt>
            <c:idx val="0"/>
            <c:bubble3D val="0"/>
            <c:spPr>
              <a:solidFill>
                <a:srgbClr val="70AD47"/>
              </a:solidFill>
            </c:spPr>
            <c:extLst>
              <c:ext xmlns:c16="http://schemas.microsoft.com/office/drawing/2014/chart" uri="{C3380CC4-5D6E-409C-BE32-E72D297353CC}">
                <c16:uniqueId val="{00000001-FFFE-4962-BF77-43CFC8F065AF}"/>
              </c:ext>
            </c:extLst>
          </c:dPt>
          <c:cat>
            <c:strRef>
              <c:f>Sheet1!$A$2:$A$2</c:f>
              <c:strCache>
                <c:ptCount val="1"/>
                <c:pt idx="0">
                  <c:v>Supplier 7</c:v>
                </c:pt>
              </c:strCache>
            </c:strRef>
          </c:cat>
          <c:val>
            <c:numRef>
              <c:f>Sheet1!$B$2:$B$2</c:f>
              <c:numCache>
                <c:formatCode>General</c:formatCode>
                <c:ptCount val="1"/>
                <c:pt idx="0">
                  <c:v>300111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FFFE-4962-BF77-43CFC8F065A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plotVisOnly val="1"/>
    <c:dispBlanksAs val="gap"/>
    <c:showDLblsOverMax val="1"/>
  </c:chart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1"/>
  <c:lang val="en-US"/>
  <c:roundedCorners val="1"/>
  <c:style val="2"/>
  <c:chart>
    <c:autoTitleDeleted val="1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</c:strCache>
            </c:strRef>
          </c:tx>
          <c:dPt>
            <c:idx val="0"/>
            <c:bubble3D val="0"/>
            <c:spPr>
              <a:solidFill>
                <a:srgbClr val="4472C4"/>
              </a:solidFill>
            </c:spPr>
            <c:extLst>
              <c:ext xmlns:c16="http://schemas.microsoft.com/office/drawing/2014/chart" uri="{C3380CC4-5D6E-409C-BE32-E72D297353CC}">
                <c16:uniqueId val="{00000001-D773-4C5B-A691-C61087007C1E}"/>
              </c:ext>
            </c:extLst>
          </c:dPt>
          <c:cat>
            <c:strRef>
              <c:f>Sheet1!$A$2:$A$2</c:f>
              <c:strCache>
                <c:ptCount val="1"/>
                <c:pt idx="0">
                  <c:v>Supplier 1</c:v>
                </c:pt>
              </c:strCache>
            </c:strRef>
          </c:cat>
          <c:val>
            <c:numRef>
              <c:f>Sheet1!$B$2:$B$2</c:f>
              <c:numCache>
                <c:formatCode>General</c:formatCode>
                <c:ptCount val="1"/>
                <c:pt idx="0">
                  <c:v>343745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D773-4C5B-A691-C61087007C1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plotVisOnly val="1"/>
    <c:dispBlanksAs val="gap"/>
    <c:showDLblsOverMax val="1"/>
  </c:chart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charts/chart4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1"/>
  <c:lang val="en-US"/>
  <c:roundedCorners val="1"/>
  <c:style val="2"/>
  <c:chart>
    <c:autoTitleDeleted val="1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</c:strCache>
            </c:strRef>
          </c:tx>
          <c:dPt>
            <c:idx val="0"/>
            <c:bubble3D val="0"/>
            <c:spPr>
              <a:solidFill>
                <a:srgbClr val="ED7D31"/>
              </a:solidFill>
            </c:spPr>
            <c:extLst>
              <c:ext xmlns:c16="http://schemas.microsoft.com/office/drawing/2014/chart" uri="{C3380CC4-5D6E-409C-BE32-E72D297353CC}">
                <c16:uniqueId val="{00000001-D991-446A-BA7F-9E8CA8225CDC}"/>
              </c:ext>
            </c:extLst>
          </c:dPt>
          <c:cat>
            <c:strRef>
              <c:f>Sheet1!$A$2:$A$2</c:f>
              <c:strCache>
                <c:ptCount val="1"/>
                <c:pt idx="0">
                  <c:v>Unallocated</c:v>
                </c:pt>
              </c:strCache>
            </c:strRef>
          </c:cat>
          <c:val>
            <c:numRef>
              <c:f>Sheet1!$B$2:$B$2</c:f>
              <c:numCache>
                <c:formatCode>General</c:formatCode>
                <c:ptCount val="1"/>
                <c:pt idx="0">
                  <c:v>300111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D991-446A-BA7F-9E8CA8225CD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plotVisOnly val="1"/>
    <c:dispBlanksAs val="gap"/>
    <c:showDLblsOverMax val="1"/>
  </c:chart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charts/chart4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1"/>
  <c:lang val="en-US"/>
  <c:roundedCorners val="1"/>
  <c:style val="2"/>
  <c:chart>
    <c:autoTitleDeleted val="1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</c:strCache>
            </c:strRef>
          </c:tx>
          <c:dPt>
            <c:idx val="0"/>
            <c:bubble3D val="0"/>
            <c:spPr>
              <a:solidFill>
                <a:srgbClr val="A5A5A5"/>
              </a:solidFill>
            </c:spPr>
            <c:extLst>
              <c:ext xmlns:c16="http://schemas.microsoft.com/office/drawing/2014/chart" uri="{C3380CC4-5D6E-409C-BE32-E72D297353CC}">
                <c16:uniqueId val="{00000001-8224-4910-969F-EC20436E7027}"/>
              </c:ext>
            </c:extLst>
          </c:dPt>
          <c:cat>
            <c:strRef>
              <c:f>Sheet1!$A$2:$A$2</c:f>
              <c:strCache>
                <c:ptCount val="1"/>
                <c:pt idx="0">
                  <c:v>Supplier 4</c:v>
                </c:pt>
              </c:strCache>
            </c:strRef>
          </c:cat>
          <c:val>
            <c:numRef>
              <c:f>Sheet1!$B$2:$B$2</c:f>
              <c:numCache>
                <c:formatCode>General</c:formatCode>
                <c:ptCount val="1"/>
                <c:pt idx="0">
                  <c:v>240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8224-4910-969F-EC20436E702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plotVisOnly val="1"/>
    <c:dispBlanksAs val="gap"/>
    <c:showDLblsOverMax val="1"/>
  </c:chart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charts/chart4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1"/>
  <c:lang val="en-US"/>
  <c:roundedCorners val="1"/>
  <c:style val="2"/>
  <c:chart>
    <c:autoTitleDeleted val="1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</c:strCache>
            </c:strRef>
          </c:tx>
          <c:dPt>
            <c:idx val="0"/>
            <c:bubble3D val="0"/>
            <c:spPr>
              <a:solidFill>
                <a:srgbClr val="A5A5A5"/>
              </a:solidFill>
            </c:spPr>
            <c:extLst>
              <c:ext xmlns:c16="http://schemas.microsoft.com/office/drawing/2014/chart" uri="{C3380CC4-5D6E-409C-BE32-E72D297353CC}">
                <c16:uniqueId val="{00000001-9AF2-4E16-920D-F6E63A25C3CE}"/>
              </c:ext>
            </c:extLst>
          </c:dPt>
          <c:cat>
            <c:strRef>
              <c:f>Sheet1!$A$2:$A$2</c:f>
              <c:strCache>
                <c:ptCount val="1"/>
                <c:pt idx="0">
                  <c:v>Supplier 4</c:v>
                </c:pt>
              </c:strCache>
            </c:strRef>
          </c:cat>
          <c:val>
            <c:numRef>
              <c:f>Sheet1!$B$2:$B$2</c:f>
              <c:numCache>
                <c:formatCode>General</c:formatCode>
                <c:ptCount val="1"/>
                <c:pt idx="0">
                  <c:v>240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9AF2-4E16-920D-F6E63A25C3C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plotVisOnly val="1"/>
    <c:dispBlanksAs val="gap"/>
    <c:showDLblsOverMax val="1"/>
  </c:chart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charts/chart4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1"/>
  <c:lang val="en-US"/>
  <c:roundedCorners val="1"/>
  <c:style val="2"/>
  <c:chart>
    <c:autoTitleDeleted val="1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</c:strCache>
            </c:strRef>
          </c:tx>
          <c:dPt>
            <c:idx val="0"/>
            <c:bubble3D val="0"/>
            <c:spPr>
              <a:solidFill>
                <a:srgbClr val="FFC000"/>
              </a:solidFill>
            </c:spPr>
            <c:extLst>
              <c:ext xmlns:c16="http://schemas.microsoft.com/office/drawing/2014/chart" uri="{C3380CC4-5D6E-409C-BE32-E72D297353CC}">
                <c16:uniqueId val="{00000001-BC2E-498D-AA47-F480433AE74A}"/>
              </c:ext>
            </c:extLst>
          </c:dPt>
          <c:cat>
            <c:strRef>
              <c:f>Sheet1!$A$2:$A$2</c:f>
              <c:strCache>
                <c:ptCount val="1"/>
                <c:pt idx="0">
                  <c:v>Supplier 2</c:v>
                </c:pt>
              </c:strCache>
            </c:strRef>
          </c:cat>
          <c:val>
            <c:numRef>
              <c:f>Sheet1!$B$2:$B$2</c:f>
              <c:numCache>
                <c:formatCode>General</c:formatCode>
                <c:ptCount val="1"/>
                <c:pt idx="0">
                  <c:v>3578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BC2E-498D-AA47-F480433AE74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plotVisOnly val="1"/>
    <c:dispBlanksAs val="gap"/>
    <c:showDLblsOverMax val="1"/>
  </c:chart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charts/chart4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1"/>
  <c:lang val="en-US"/>
  <c:roundedCorners val="1"/>
  <c:style val="2"/>
  <c:chart>
    <c:autoTitleDeleted val="1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</c:strCache>
            </c:strRef>
          </c:tx>
          <c:dPt>
            <c:idx val="0"/>
            <c:bubble3D val="0"/>
            <c:spPr>
              <a:solidFill>
                <a:srgbClr val="FFC000"/>
              </a:solidFill>
            </c:spPr>
            <c:extLst>
              <c:ext xmlns:c16="http://schemas.microsoft.com/office/drawing/2014/chart" uri="{C3380CC4-5D6E-409C-BE32-E72D297353CC}">
                <c16:uniqueId val="{00000001-D0A4-4FAE-B4A4-5BE033388848}"/>
              </c:ext>
            </c:extLst>
          </c:dPt>
          <c:cat>
            <c:strRef>
              <c:f>Sheet1!$A$2:$A$2</c:f>
              <c:strCache>
                <c:ptCount val="1"/>
                <c:pt idx="0">
                  <c:v>Supplier 2</c:v>
                </c:pt>
              </c:strCache>
            </c:strRef>
          </c:cat>
          <c:val>
            <c:numRef>
              <c:f>Sheet1!$B$2:$B$2</c:f>
              <c:numCache>
                <c:formatCode>General</c:formatCode>
                <c:ptCount val="1"/>
                <c:pt idx="0">
                  <c:v>3578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D0A4-4FAE-B4A4-5BE03338884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plotVisOnly val="1"/>
    <c:dispBlanksAs val="gap"/>
    <c:showDLblsOverMax val="1"/>
  </c:chart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charts/chart4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1"/>
  <c:lang val="en-US"/>
  <c:roundedCorners val="1"/>
  <c:style val="2"/>
  <c:chart>
    <c:autoTitleDeleted val="1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</c:strCache>
            </c:strRef>
          </c:tx>
          <c:dPt>
            <c:idx val="0"/>
            <c:bubble3D val="0"/>
            <c:spPr>
              <a:solidFill>
                <a:srgbClr val="5B9BD5"/>
              </a:solidFill>
            </c:spPr>
            <c:extLst>
              <c:ext xmlns:c16="http://schemas.microsoft.com/office/drawing/2014/chart" uri="{C3380CC4-5D6E-409C-BE32-E72D297353CC}">
                <c16:uniqueId val="{00000001-AF8B-4B59-9C04-31A8E13D1EB5}"/>
              </c:ext>
            </c:extLst>
          </c:dPt>
          <c:cat>
            <c:strRef>
              <c:f>Sheet1!$A$2:$A$2</c:f>
              <c:strCache>
                <c:ptCount val="1"/>
                <c:pt idx="0">
                  <c:v>Supplier 6</c:v>
                </c:pt>
              </c:strCache>
            </c:strRef>
          </c:cat>
          <c:val>
            <c:numRef>
              <c:f>Sheet1!$B$2:$B$2</c:f>
              <c:numCache>
                <c:formatCode>General</c:formatCode>
                <c:ptCount val="1"/>
                <c:pt idx="0">
                  <c:v>450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AF8B-4B59-9C04-31A8E13D1EB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plotVisOnly val="1"/>
    <c:dispBlanksAs val="gap"/>
    <c:showDLblsOverMax val="1"/>
  </c:chart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charts/chart4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1"/>
  <c:lang val="en-US"/>
  <c:roundedCorners val="1"/>
  <c:style val="2"/>
  <c:chart>
    <c:autoTitleDeleted val="1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</c:strCache>
            </c:strRef>
          </c:tx>
          <c:dPt>
            <c:idx val="0"/>
            <c:bubble3D val="0"/>
            <c:spPr>
              <a:solidFill>
                <a:srgbClr val="ED7D31"/>
              </a:solidFill>
            </c:spPr>
            <c:extLst>
              <c:ext xmlns:c16="http://schemas.microsoft.com/office/drawing/2014/chart" uri="{C3380CC4-5D6E-409C-BE32-E72D297353CC}">
                <c16:uniqueId val="{00000001-D002-4C35-A860-5570D2342A8D}"/>
              </c:ext>
            </c:extLst>
          </c:dPt>
          <c:cat>
            <c:strRef>
              <c:f>Sheet1!$A$2:$A$2</c:f>
              <c:strCache>
                <c:ptCount val="1"/>
                <c:pt idx="0">
                  <c:v>Unallocated</c:v>
                </c:pt>
              </c:strCache>
            </c:strRef>
          </c:cat>
          <c:val>
            <c:numRef>
              <c:f>Sheet1!$B$2:$B$2</c:f>
              <c:numCache>
                <c:formatCode>General</c:formatCode>
                <c:ptCount val="1"/>
                <c:pt idx="0">
                  <c:v>450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D002-4C35-A860-5570D2342A8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plotVisOnly val="1"/>
    <c:dispBlanksAs val="gap"/>
    <c:showDLblsOverMax val="1"/>
  </c:chart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charts/chart4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1"/>
  <c:style val="2"/>
  <c:chart>
    <c:title>
      <c:tx>
        <c:rich>
          <a:bodyPr/>
          <a:lstStyle/>
          <a:p>
            <a:pPr>
              <a:defRPr sz="800" b="1">
                <a:latin typeface="Calibri"/>
              </a:defRPr>
            </a:pPr>
            <a:r>
              <a:t>Percentage from Current by Bid ID</a:t>
            </a:r>
          </a:p>
        </c:rich>
      </c:tx>
      <c:overlay val="0"/>
    </c:title>
    <c:autoTitleDeleted val="0"/>
    <c:plotArea>
      <c:layout/>
      <c:barChart>
        <c:barDir val="col"/>
        <c:grouping val="clustered"/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upplier 1</c:v>
                </c:pt>
              </c:strCache>
            </c:strRef>
          </c:tx>
          <c:spPr>
            <a:solidFill>
              <a:schemeClr val="accent1"/>
            </a:solidFill>
          </c:spPr>
          <c:invertIfNegative val="0"/>
          <c:dLbls>
            <c:numFmt formatCode="0%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800">
                    <a:latin typeface="Calibri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6</c:f>
              <c:strCache>
                <c:ptCount val="5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</c:strCache>
            </c:strRef>
          </c:cat>
          <c:val>
            <c:numRef>
              <c:f>Sheet1!$B$2:$B$6</c:f>
              <c:numCache>
                <c:formatCode>General</c:formatCode>
                <c:ptCount val="5"/>
                <c:pt idx="0">
                  <c:v>-0.52380952380952372</c:v>
                </c:pt>
                <c:pt idx="1">
                  <c:v>0.164443592138449</c:v>
                </c:pt>
                <c:pt idx="2">
                  <c:v>-0.10143196087240997</c:v>
                </c:pt>
                <c:pt idx="3">
                  <c:v>0.1082814175640147</c:v>
                </c:pt>
                <c:pt idx="4">
                  <c:v>2.0712368162708765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F90-4A6E-94AD-A62DF68C04C4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upplier 2</c:v>
                </c:pt>
              </c:strCache>
            </c:strRef>
          </c:tx>
          <c:spPr>
            <a:solidFill>
              <a:schemeClr val="accent4"/>
            </a:solidFill>
          </c:spPr>
          <c:invertIfNegative val="0"/>
          <c:dLbls>
            <c:numFmt formatCode="0%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800">
                    <a:latin typeface="Calibri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6</c:f>
              <c:strCache>
                <c:ptCount val="5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</c:strCache>
            </c:strRef>
          </c:cat>
          <c:val>
            <c:numRef>
              <c:f>Sheet1!$C$2:$C$6</c:f>
              <c:numCache>
                <c:formatCode>General</c:formatCode>
                <c:ptCount val="5"/>
                <c:pt idx="0">
                  <c:v>-0.71729295679733518</c:v>
                </c:pt>
                <c:pt idx="1">
                  <c:v>0.13739880011443936</c:v>
                </c:pt>
                <c:pt idx="2">
                  <c:v>-0.1002863180422431</c:v>
                </c:pt>
                <c:pt idx="3">
                  <c:v>0.10128924400312571</c:v>
                </c:pt>
                <c:pt idx="4">
                  <c:v>5.2741837351902819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8F90-4A6E-94AD-A62DF68C04C4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upplier 3</c:v>
                </c:pt>
              </c:strCache>
            </c:strRef>
          </c:tx>
          <c:spPr>
            <a:solidFill>
              <a:schemeClr val="accent5"/>
            </a:solidFill>
          </c:spPr>
          <c:invertIfNegative val="0"/>
          <c:dLbls>
            <c:numFmt formatCode="0%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800">
                    <a:latin typeface="Calibri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6</c:f>
              <c:strCache>
                <c:ptCount val="5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</c:strCache>
            </c:strRef>
          </c:cat>
          <c:val>
            <c:numRef>
              <c:f>Sheet1!$D$2:$D$6</c:f>
              <c:numCache>
                <c:formatCode>General</c:formatCode>
                <c:ptCount val="5"/>
                <c:pt idx="0">
                  <c:v>-0.81253105203543041</c:v>
                </c:pt>
                <c:pt idx="1">
                  <c:v>0.14719736729776214</c:v>
                </c:pt>
                <c:pt idx="2">
                  <c:v>-8.7242030870737106E-2</c:v>
                </c:pt>
                <c:pt idx="3">
                  <c:v>9.8512073345300363E-2</c:v>
                </c:pt>
                <c:pt idx="4">
                  <c:v>2.8077792648314236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8F90-4A6E-94AD-A62DF68C04C4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Supplier 4</c:v>
                </c:pt>
              </c:strCache>
            </c:strRef>
          </c:tx>
          <c:spPr>
            <a:solidFill>
              <a:schemeClr val="accent6"/>
            </a:solidFill>
          </c:spPr>
          <c:invertIfNegative val="0"/>
          <c:dLbls>
            <c:numFmt formatCode="0%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800">
                    <a:latin typeface="Calibri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6</c:f>
              <c:strCache>
                <c:ptCount val="5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</c:strCache>
            </c:strRef>
          </c:cat>
          <c:val>
            <c:numRef>
              <c:f>Sheet1!$E$2:$E$6</c:f>
              <c:numCache>
                <c:formatCode>General</c:formatCode>
                <c:ptCount val="5"/>
                <c:pt idx="0">
                  <c:v>1.2659104692847458</c:v>
                </c:pt>
                <c:pt idx="1">
                  <c:v>-6.3628642792040307E-2</c:v>
                </c:pt>
                <c:pt idx="2">
                  <c:v>-9.0051158589473476E-2</c:v>
                </c:pt>
                <c:pt idx="3">
                  <c:v>9.7724734680444125E-2</c:v>
                </c:pt>
                <c:pt idx="4">
                  <c:v>0.2858759878305702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8F90-4A6E-94AD-A62DF68C04C4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Supplier 5</c:v>
                </c:pt>
              </c:strCache>
            </c:strRef>
          </c:tx>
          <c:spPr>
            <a:solidFill>
              <a:schemeClr val="accent1"/>
            </a:solidFill>
          </c:spPr>
          <c:invertIfNegative val="0"/>
          <c:dLbls>
            <c:numFmt formatCode="0%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800">
                    <a:latin typeface="Calibri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6</c:f>
              <c:strCache>
                <c:ptCount val="5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</c:strCache>
            </c:strRef>
          </c:cat>
          <c:val>
            <c:numRef>
              <c:f>Sheet1!$F$2:$F$6</c:f>
              <c:numCache>
                <c:formatCode>General</c:formatCode>
                <c:ptCount val="5"/>
                <c:pt idx="0">
                  <c:v>-0.83907592379741713</c:v>
                </c:pt>
                <c:pt idx="1">
                  <c:v>0.14988811709241182</c:v>
                </c:pt>
                <c:pt idx="2">
                  <c:v>-8.9121929762654359E-2</c:v>
                </c:pt>
                <c:pt idx="3">
                  <c:v>8.580193404232854E-2</c:v>
                </c:pt>
                <c:pt idx="4">
                  <c:v>0.1044568823868276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8F90-4A6E-94AD-A62DF68C04C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-2068027336"/>
        <c:axId val="-2113994440"/>
      </c:barChart>
      <c:catAx>
        <c:axId val="-2068027336"/>
        <c:scaling>
          <c:orientation val="minMax"/>
        </c:scaling>
        <c:delete val="0"/>
        <c:axPos val="b"/>
        <c:title>
          <c:tx>
            <c:rich>
              <a:bodyPr/>
              <a:lstStyle/>
              <a:p>
                <a:pPr>
                  <a:defRPr sz="800" b="1">
                    <a:latin typeface="Calibri"/>
                  </a:defRPr>
                </a:pPr>
                <a:r>
                  <a:t>Bid ID</a:t>
                </a:r>
              </a:p>
            </c:rich>
          </c:tx>
          <c:overlay val="0"/>
        </c:title>
        <c:numFmt formatCode="General" sourceLinked="0"/>
        <c:majorTickMark val="out"/>
        <c:minorTickMark val="none"/>
        <c:tickLblPos val="nextTo"/>
        <c:txPr>
          <a:bodyPr/>
          <a:lstStyle/>
          <a:p>
            <a:pPr>
              <a:defRPr sz="800">
                <a:latin typeface="Calibri"/>
              </a:defRPr>
            </a:pPr>
            <a:endParaRPr lang="en-US"/>
          </a:p>
        </c:txPr>
        <c:crossAx val="-2113994440"/>
        <c:crosses val="autoZero"/>
        <c:auto val="1"/>
        <c:lblAlgn val="ctr"/>
        <c:lblOffset val="100"/>
        <c:noMultiLvlLbl val="0"/>
      </c:catAx>
      <c:valAx>
        <c:axId val="-2113994440"/>
        <c:scaling>
          <c:orientation val="minMax"/>
          <c:max val="0.5"/>
          <c:min val="-0.5"/>
        </c:scaling>
        <c:delete val="0"/>
        <c:axPos val="l"/>
        <c:majorGridlines/>
        <c:title>
          <c:tx>
            <c:rich>
              <a:bodyPr/>
              <a:lstStyle/>
              <a:p>
                <a:pPr>
                  <a:defRPr sz="800" b="1">
                    <a:latin typeface="Calibri"/>
                  </a:defRPr>
                </a:pPr>
                <a:r>
                  <a:t>% Difference from Current</a:t>
                </a:r>
              </a:p>
            </c:rich>
          </c:tx>
          <c:overlay val="0"/>
        </c:title>
        <c:numFmt formatCode="0%" sourceLinked="0"/>
        <c:majorTickMark val="out"/>
        <c:minorTickMark val="none"/>
        <c:tickLblPos val="nextTo"/>
        <c:txPr>
          <a:bodyPr/>
          <a:lstStyle/>
          <a:p>
            <a:pPr>
              <a:defRPr sz="800">
                <a:latin typeface="Calibri"/>
              </a:defRPr>
            </a:pPr>
            <a:endParaRPr lang="en-US"/>
          </a:p>
        </c:txPr>
        <c:crossAx val="-2068027336"/>
        <c:crosses val="autoZero"/>
        <c:crossBetween val="between"/>
        <c:majorUnit val="0.1"/>
      </c:valAx>
    </c:plotArea>
    <c:legend>
      <c:legendPos val="b"/>
      <c:overlay val="0"/>
      <c:txPr>
        <a:bodyPr/>
        <a:lstStyle/>
        <a:p>
          <a:pPr>
            <a:defRPr sz="800" b="1">
              <a:latin typeface="Calibri"/>
            </a:defRPr>
          </a:pPr>
          <a:endParaRPr lang="en-US"/>
        </a:p>
      </c:txPr>
    </c:legend>
    <c:plotVisOnly val="1"/>
    <c:dispBlanksAs val="gap"/>
    <c:showDLblsOverMax val="1"/>
  </c:chart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charts/chart4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1"/>
  <c:style val="2"/>
  <c:chart>
    <c:title>
      <c:tx>
        <c:rich>
          <a:bodyPr/>
          <a:lstStyle/>
          <a:p>
            <a:pPr algn="l">
              <a:defRPr sz="900" b="1">
                <a:solidFill>
                  <a:srgbClr val="003399"/>
                </a:solidFill>
                <a:latin typeface="Calibri"/>
              </a:defRPr>
            </a:pPr>
            <a:r>
              <a:t>Count of Bids by Bid ID</a:t>
            </a:r>
          </a:p>
        </c:rich>
      </c:tx>
      <c:overlay val="0"/>
    </c:title>
    <c:autoTitleDeleted val="0"/>
    <c:plotArea>
      <c:layout/>
      <c:barChart>
        <c:barDir val="col"/>
        <c:grouping val="stacked"/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New &amp; Incumbent</c:v>
                </c:pt>
              </c:strCache>
            </c:strRef>
          </c:tx>
          <c:invertIfNegative val="1"/>
          <c:cat>
            <c:strRef>
              <c:f>Sheet1!$A$2:$A$6</c:f>
              <c:strCache>
                <c:ptCount val="5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</c:strCache>
            </c:strRef>
          </c:cat>
          <c:val>
            <c:numRef>
              <c:f>Sheet1!$B$2:$B$6</c:f>
              <c:numCache>
                <c:formatCode>General</c:formatCode>
                <c:ptCount val="5"/>
                <c:pt idx="0">
                  <c:v>1</c:v>
                </c:pt>
                <c:pt idx="1">
                  <c:v>0</c:v>
                </c:pt>
                <c:pt idx="2">
                  <c:v>1</c:v>
                </c:pt>
                <c:pt idx="3">
                  <c:v>1</c:v>
                </c:pt>
                <c:pt idx="4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1DF-472E-97DD-EEBE1FB11826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Only New Suppliers</c:v>
                </c:pt>
              </c:strCache>
            </c:strRef>
          </c:tx>
          <c:invertIfNegative val="1"/>
          <c:cat>
            <c:strRef>
              <c:f>Sheet1!$A$2:$A$6</c:f>
              <c:strCache>
                <c:ptCount val="5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</c:strCache>
            </c:strRef>
          </c:cat>
          <c:val>
            <c:numRef>
              <c:f>Sheet1!$C$2:$C$6</c:f>
              <c:numCache>
                <c:formatCode>General</c:formatCode>
                <c:ptCount val="5"/>
                <c:pt idx="0">
                  <c:v>0</c:v>
                </c:pt>
                <c:pt idx="1">
                  <c:v>1</c:v>
                </c:pt>
                <c:pt idx="2">
                  <c:v>0</c:v>
                </c:pt>
                <c:pt idx="3">
                  <c:v>0</c:v>
                </c:pt>
                <c:pt idx="4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F1DF-472E-97DD-EEBE1FB11826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Only Incumbent</c:v>
                </c:pt>
              </c:strCache>
            </c:strRef>
          </c:tx>
          <c:invertIfNegative val="1"/>
          <c:cat>
            <c:strRef>
              <c:f>Sheet1!$A$2:$A$6</c:f>
              <c:strCache>
                <c:ptCount val="5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</c:strCache>
            </c:strRef>
          </c:cat>
          <c:val>
            <c:numRef>
              <c:f>Sheet1!$D$2:$D$6</c:f>
              <c:numCache>
                <c:formatCode>General</c:formatCode>
                <c:ptCount val="5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F1DF-472E-97DD-EEBE1FB11826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Not Covered</c:v>
                </c:pt>
              </c:strCache>
            </c:strRef>
          </c:tx>
          <c:invertIfNegative val="1"/>
          <c:cat>
            <c:strRef>
              <c:f>Sheet1!$A$2:$A$6</c:f>
              <c:strCache>
                <c:ptCount val="5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</c:strCache>
            </c:strRef>
          </c:cat>
          <c:val>
            <c:numRef>
              <c:f>Sheet1!$E$2:$E$6</c:f>
              <c:numCache>
                <c:formatCode>General</c:formatCode>
                <c:ptCount val="5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F1DF-472E-97DD-EEBE1FB1182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-2068027336"/>
        <c:axId val="-2113994440"/>
      </c:barChart>
      <c:catAx>
        <c:axId val="-2068027336"/>
        <c:scaling>
          <c:orientation val="minMax"/>
        </c:scaling>
        <c:delete val="0"/>
        <c:axPos val="b"/>
        <c:title>
          <c:tx>
            <c:rich>
              <a:bodyPr/>
              <a:lstStyle/>
              <a:p>
                <a:pPr>
                  <a:defRPr sz="900" b="1">
                    <a:solidFill>
                      <a:srgbClr val="003399"/>
                    </a:solidFill>
                    <a:latin typeface="Calibri"/>
                  </a:defRPr>
                </a:pPr>
                <a:r>
                  <a:t>Bid ID</a:t>
                </a:r>
              </a:p>
            </c:rich>
          </c:tx>
          <c:overlay val="0"/>
        </c:title>
        <c:numFmt formatCode="General" sourceLinked="0"/>
        <c:majorTickMark val="out"/>
        <c:minorTickMark val="none"/>
        <c:tickLblPos val="nextTo"/>
        <c:crossAx val="-2113994440"/>
        <c:crosses val="autoZero"/>
        <c:auto val="1"/>
        <c:lblAlgn val="ctr"/>
        <c:lblOffset val="100"/>
        <c:noMultiLvlLbl val="0"/>
      </c:catAx>
      <c:valAx>
        <c:axId val="-2113994440"/>
        <c:scaling>
          <c:orientation val="minMax"/>
          <c:max val="10"/>
          <c:min val="0"/>
        </c:scaling>
        <c:delete val="0"/>
        <c:axPos val="l"/>
        <c:majorGridlines/>
        <c:title>
          <c:tx>
            <c:rich>
              <a:bodyPr/>
              <a:lstStyle/>
              <a:p>
                <a:pPr>
                  <a:defRPr sz="900" b="1">
                    <a:solidFill>
                      <a:srgbClr val="003399"/>
                    </a:solidFill>
                    <a:latin typeface="Calibri"/>
                  </a:defRPr>
                </a:pPr>
                <a:r>
                  <a:t>Count of Bids</a:t>
                </a:r>
              </a:p>
            </c:rich>
          </c:tx>
          <c:overlay val="0"/>
        </c:title>
        <c:numFmt formatCode="General" sourceLinked="1"/>
        <c:majorTickMark val="out"/>
        <c:minorTickMark val="none"/>
        <c:tickLblPos val="nextTo"/>
        <c:crossAx val="-2068027336"/>
        <c:crosses val="autoZero"/>
        <c:crossBetween val="between"/>
        <c:majorUnit val="10"/>
      </c:valAx>
    </c:plotArea>
    <c:legend>
      <c:legendPos val="b"/>
      <c:overlay val="0"/>
      <c:txPr>
        <a:bodyPr/>
        <a:lstStyle/>
        <a:p>
          <a:pPr>
            <a:defRPr sz="800" b="1">
              <a:solidFill>
                <a:srgbClr val="003399"/>
              </a:solidFill>
              <a:latin typeface="Calibri"/>
            </a:defRPr>
          </a:pPr>
          <a:endParaRPr lang="en-US"/>
        </a:p>
      </c:txPr>
    </c:legend>
    <c:plotVisOnly val="1"/>
    <c:dispBlanksAs val="gap"/>
    <c:showDLblsOverMax val="1"/>
  </c:chart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1"/>
  <c:lang val="en-US"/>
  <c:roundedCorners val="1"/>
  <c:style val="2"/>
  <c:chart>
    <c:autoTitleDeleted val="1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</c:strCache>
            </c:strRef>
          </c:tx>
          <c:dPt>
            <c:idx val="0"/>
            <c:bubble3D val="0"/>
            <c:spPr>
              <a:solidFill>
                <a:srgbClr val="70AD47"/>
              </a:solidFill>
            </c:spPr>
            <c:extLst>
              <c:ext xmlns:c16="http://schemas.microsoft.com/office/drawing/2014/chart" uri="{C3380CC4-5D6E-409C-BE32-E72D297353CC}">
                <c16:uniqueId val="{00000001-64EA-47F4-849B-D12A42E3F8C2}"/>
              </c:ext>
            </c:extLst>
          </c:dPt>
          <c:cat>
            <c:strRef>
              <c:f>Sheet1!$A$2:$A$2</c:f>
              <c:strCache>
                <c:ptCount val="1"/>
                <c:pt idx="0">
                  <c:v>Supplier 7</c:v>
                </c:pt>
              </c:strCache>
            </c:strRef>
          </c:cat>
          <c:val>
            <c:numRef>
              <c:f>Sheet1!$B$2:$B$2</c:f>
              <c:numCache>
                <c:formatCode>General</c:formatCode>
                <c:ptCount val="1"/>
                <c:pt idx="0">
                  <c:v>300111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64EA-47F4-849B-D12A42E3F8C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plotVisOnly val="1"/>
    <c:dispBlanksAs val="gap"/>
    <c:showDLblsOverMax val="1"/>
  </c:chart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1"/>
  <c:lang val="en-US"/>
  <c:roundedCorners val="1"/>
  <c:style val="2"/>
  <c:chart>
    <c:autoTitleDeleted val="1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</c:strCache>
            </c:strRef>
          </c:tx>
          <c:dPt>
            <c:idx val="0"/>
            <c:bubble3D val="0"/>
            <c:spPr>
              <a:solidFill>
                <a:srgbClr val="ED7D31"/>
              </a:solidFill>
            </c:spPr>
            <c:extLst>
              <c:ext xmlns:c16="http://schemas.microsoft.com/office/drawing/2014/chart" uri="{C3380CC4-5D6E-409C-BE32-E72D297353CC}">
                <c16:uniqueId val="{00000001-9842-4B12-BE97-D59C1C001BEB}"/>
              </c:ext>
            </c:extLst>
          </c:dPt>
          <c:cat>
            <c:strRef>
              <c:f>Sheet1!$A$2:$A$2</c:f>
              <c:strCache>
                <c:ptCount val="1"/>
                <c:pt idx="0">
                  <c:v>No Bid from Incumbent</c:v>
                </c:pt>
              </c:strCache>
            </c:strRef>
          </c:cat>
          <c:val>
            <c:numRef>
              <c:f>Sheet1!$B$2:$B$2</c:f>
              <c:numCache>
                <c:formatCode>General</c:formatCode>
                <c:ptCount val="1"/>
                <c:pt idx="0">
                  <c:v>300111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9842-4B12-BE97-D59C1C001BE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plotVisOnly val="1"/>
    <c:dispBlanksAs val="gap"/>
    <c:showDLblsOverMax val="1"/>
  </c:chart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1"/>
  <c:lang val="en-US"/>
  <c:roundedCorners val="1"/>
  <c:style val="2"/>
  <c:chart>
    <c:autoTitleDeleted val="1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</c:strCache>
            </c:strRef>
          </c:tx>
          <c:dPt>
            <c:idx val="0"/>
            <c:bubble3D val="0"/>
            <c:spPr>
              <a:solidFill>
                <a:srgbClr val="A5A5A5"/>
              </a:solidFill>
            </c:spPr>
            <c:extLst>
              <c:ext xmlns:c16="http://schemas.microsoft.com/office/drawing/2014/chart" uri="{C3380CC4-5D6E-409C-BE32-E72D297353CC}">
                <c16:uniqueId val="{00000001-754D-4D43-A285-8E9E97961708}"/>
              </c:ext>
            </c:extLst>
          </c:dPt>
          <c:cat>
            <c:strRef>
              <c:f>Sheet1!$A$2:$A$2</c:f>
              <c:strCache>
                <c:ptCount val="1"/>
                <c:pt idx="0">
                  <c:v>Supplier 4</c:v>
                </c:pt>
              </c:strCache>
            </c:strRef>
          </c:cat>
          <c:val>
            <c:numRef>
              <c:f>Sheet1!$B$2:$B$2</c:f>
              <c:numCache>
                <c:formatCode>General</c:formatCode>
                <c:ptCount val="1"/>
                <c:pt idx="0">
                  <c:v>240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754D-4D43-A285-8E9E9796170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plotVisOnly val="1"/>
    <c:dispBlanksAs val="gap"/>
    <c:showDLblsOverMax val="1"/>
  </c:chart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1"/>
  <c:lang val="en-US"/>
  <c:roundedCorners val="1"/>
  <c:style val="2"/>
  <c:chart>
    <c:autoTitleDeleted val="1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</c:strCache>
            </c:strRef>
          </c:tx>
          <c:dPt>
            <c:idx val="0"/>
            <c:bubble3D val="0"/>
            <c:spPr>
              <a:solidFill>
                <a:srgbClr val="A5A5A5"/>
              </a:solidFill>
            </c:spPr>
            <c:extLst>
              <c:ext xmlns:c16="http://schemas.microsoft.com/office/drawing/2014/chart" uri="{C3380CC4-5D6E-409C-BE32-E72D297353CC}">
                <c16:uniqueId val="{00000001-8076-4E9E-A102-88A3933C7C03}"/>
              </c:ext>
            </c:extLst>
          </c:dPt>
          <c:cat>
            <c:strRef>
              <c:f>Sheet1!$A$2:$A$2</c:f>
              <c:strCache>
                <c:ptCount val="1"/>
                <c:pt idx="0">
                  <c:v>Supplier 4</c:v>
                </c:pt>
              </c:strCache>
            </c:strRef>
          </c:cat>
          <c:val>
            <c:numRef>
              <c:f>Sheet1!$B$2:$B$2</c:f>
              <c:numCache>
                <c:formatCode>General</c:formatCode>
                <c:ptCount val="1"/>
                <c:pt idx="0">
                  <c:v>240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8076-4E9E-A102-88A3933C7C0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plotVisOnly val="1"/>
    <c:dispBlanksAs val="gap"/>
    <c:showDLblsOverMax val="1"/>
  </c:chart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1"/>
  <c:lang val="en-US"/>
  <c:roundedCorners val="1"/>
  <c:style val="2"/>
  <c:chart>
    <c:autoTitleDeleted val="1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</c:strCache>
            </c:strRef>
          </c:tx>
          <c:dPt>
            <c:idx val="0"/>
            <c:bubble3D val="0"/>
            <c:spPr>
              <a:solidFill>
                <a:srgbClr val="FFC000"/>
              </a:solidFill>
            </c:spPr>
            <c:extLst>
              <c:ext xmlns:c16="http://schemas.microsoft.com/office/drawing/2014/chart" uri="{C3380CC4-5D6E-409C-BE32-E72D297353CC}">
                <c16:uniqueId val="{00000001-8A59-43A1-943F-9D2434DF998D}"/>
              </c:ext>
            </c:extLst>
          </c:dPt>
          <c:cat>
            <c:strRef>
              <c:f>Sheet1!$A$2:$A$2</c:f>
              <c:strCache>
                <c:ptCount val="1"/>
                <c:pt idx="0">
                  <c:v>Supplier 2</c:v>
                </c:pt>
              </c:strCache>
            </c:strRef>
          </c:cat>
          <c:val>
            <c:numRef>
              <c:f>Sheet1!$B$2:$B$2</c:f>
              <c:numCache>
                <c:formatCode>General</c:formatCode>
                <c:ptCount val="1"/>
                <c:pt idx="0">
                  <c:v>3578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8A59-43A1-943F-9D2434DF998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plotVisOnly val="1"/>
    <c:dispBlanksAs val="gap"/>
    <c:showDLblsOverMax val="1"/>
  </c:chart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24.xml"/><Relationship Id="rId7" Type="http://schemas.openxmlformats.org/officeDocument/2006/relationships/oleObject" Target="../embeddings/oleObject2.bin"/><Relationship Id="rId2" Type="http://schemas.openxmlformats.org/officeDocument/2006/relationships/tags" Target="../tags/tag23.xml"/><Relationship Id="rId1" Type="http://schemas.openxmlformats.org/officeDocument/2006/relationships/tags" Target="../tags/tag22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6.xml"/><Relationship Id="rId4" Type="http://schemas.openxmlformats.org/officeDocument/2006/relationships/tags" Target="../tags/tag25.xml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tags" Target="../tags/tag90.xml"/><Relationship Id="rId3" Type="http://schemas.openxmlformats.org/officeDocument/2006/relationships/tags" Target="../tags/tag85.xml"/><Relationship Id="rId7" Type="http://schemas.openxmlformats.org/officeDocument/2006/relationships/tags" Target="../tags/tag89.xml"/><Relationship Id="rId2" Type="http://schemas.openxmlformats.org/officeDocument/2006/relationships/tags" Target="../tags/tag84.xml"/><Relationship Id="rId1" Type="http://schemas.openxmlformats.org/officeDocument/2006/relationships/tags" Target="../tags/tag83.xml"/><Relationship Id="rId6" Type="http://schemas.openxmlformats.org/officeDocument/2006/relationships/tags" Target="../tags/tag88.xml"/><Relationship Id="rId11" Type="http://schemas.openxmlformats.org/officeDocument/2006/relationships/image" Target="../media/image3.emf"/><Relationship Id="rId5" Type="http://schemas.openxmlformats.org/officeDocument/2006/relationships/tags" Target="../tags/tag87.xml"/><Relationship Id="rId10" Type="http://schemas.openxmlformats.org/officeDocument/2006/relationships/oleObject" Target="../embeddings/oleObject11.bin"/><Relationship Id="rId4" Type="http://schemas.openxmlformats.org/officeDocument/2006/relationships/tags" Target="../tags/tag86.xml"/><Relationship Id="rId9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tags" Target="../tags/tag98.xml"/><Relationship Id="rId3" Type="http://schemas.openxmlformats.org/officeDocument/2006/relationships/tags" Target="../tags/tag93.xml"/><Relationship Id="rId7" Type="http://schemas.openxmlformats.org/officeDocument/2006/relationships/tags" Target="../tags/tag97.xml"/><Relationship Id="rId2" Type="http://schemas.openxmlformats.org/officeDocument/2006/relationships/tags" Target="../tags/tag92.xml"/><Relationship Id="rId1" Type="http://schemas.openxmlformats.org/officeDocument/2006/relationships/tags" Target="../tags/tag91.xml"/><Relationship Id="rId6" Type="http://schemas.openxmlformats.org/officeDocument/2006/relationships/tags" Target="../tags/tag96.xml"/><Relationship Id="rId11" Type="http://schemas.openxmlformats.org/officeDocument/2006/relationships/image" Target="../media/image1.emf"/><Relationship Id="rId5" Type="http://schemas.openxmlformats.org/officeDocument/2006/relationships/tags" Target="../tags/tag95.xml"/><Relationship Id="rId10" Type="http://schemas.openxmlformats.org/officeDocument/2006/relationships/oleObject" Target="../embeddings/oleObject12.bin"/><Relationship Id="rId4" Type="http://schemas.openxmlformats.org/officeDocument/2006/relationships/tags" Target="../tags/tag94.xml"/><Relationship Id="rId9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3.bin"/><Relationship Id="rId3" Type="http://schemas.openxmlformats.org/officeDocument/2006/relationships/tags" Target="../tags/tag101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100.xml"/><Relationship Id="rId1" Type="http://schemas.openxmlformats.org/officeDocument/2006/relationships/tags" Target="../tags/tag99.xml"/><Relationship Id="rId6" Type="http://schemas.openxmlformats.org/officeDocument/2006/relationships/tags" Target="../tags/tag104.xml"/><Relationship Id="rId5" Type="http://schemas.openxmlformats.org/officeDocument/2006/relationships/tags" Target="../tags/tag103.xml"/><Relationship Id="rId4" Type="http://schemas.openxmlformats.org/officeDocument/2006/relationships/tags" Target="../tags/tag102.xml"/><Relationship Id="rId9" Type="http://schemas.openxmlformats.org/officeDocument/2006/relationships/image" Target="../media/image2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107.xml"/><Relationship Id="rId7" Type="http://schemas.openxmlformats.org/officeDocument/2006/relationships/image" Target="../media/image2.emf"/><Relationship Id="rId2" Type="http://schemas.openxmlformats.org/officeDocument/2006/relationships/tags" Target="../tags/tag106.xml"/><Relationship Id="rId1" Type="http://schemas.openxmlformats.org/officeDocument/2006/relationships/tags" Target="../tags/tag105.xml"/><Relationship Id="rId6" Type="http://schemas.openxmlformats.org/officeDocument/2006/relationships/oleObject" Target="../embeddings/oleObject14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08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0.xml"/><Relationship Id="rId1" Type="http://schemas.openxmlformats.org/officeDocument/2006/relationships/tags" Target="../tags/tag109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5.bin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tags" Target="../tags/tag118.xml"/><Relationship Id="rId3" Type="http://schemas.openxmlformats.org/officeDocument/2006/relationships/tags" Target="../tags/tag113.xml"/><Relationship Id="rId7" Type="http://schemas.openxmlformats.org/officeDocument/2006/relationships/tags" Target="../tags/tag117.xml"/><Relationship Id="rId2" Type="http://schemas.openxmlformats.org/officeDocument/2006/relationships/tags" Target="../tags/tag112.xml"/><Relationship Id="rId1" Type="http://schemas.openxmlformats.org/officeDocument/2006/relationships/tags" Target="../tags/tag111.xml"/><Relationship Id="rId6" Type="http://schemas.openxmlformats.org/officeDocument/2006/relationships/tags" Target="../tags/tag116.xml"/><Relationship Id="rId11" Type="http://schemas.openxmlformats.org/officeDocument/2006/relationships/image" Target="../media/image1.emf"/><Relationship Id="rId5" Type="http://schemas.openxmlformats.org/officeDocument/2006/relationships/tags" Target="../tags/tag115.xml"/><Relationship Id="rId10" Type="http://schemas.openxmlformats.org/officeDocument/2006/relationships/oleObject" Target="../embeddings/oleObject16.bin"/><Relationship Id="rId4" Type="http://schemas.openxmlformats.org/officeDocument/2006/relationships/tags" Target="../tags/tag114.xml"/><Relationship Id="rId9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121.xml"/><Relationship Id="rId7" Type="http://schemas.openxmlformats.org/officeDocument/2006/relationships/tags" Target="../tags/tag125.xml"/><Relationship Id="rId2" Type="http://schemas.openxmlformats.org/officeDocument/2006/relationships/tags" Target="../tags/tag120.xml"/><Relationship Id="rId1" Type="http://schemas.openxmlformats.org/officeDocument/2006/relationships/tags" Target="../tags/tag119.xml"/><Relationship Id="rId6" Type="http://schemas.openxmlformats.org/officeDocument/2006/relationships/tags" Target="../tags/tag124.xml"/><Relationship Id="rId5" Type="http://schemas.openxmlformats.org/officeDocument/2006/relationships/tags" Target="../tags/tag123.xml"/><Relationship Id="rId10" Type="http://schemas.openxmlformats.org/officeDocument/2006/relationships/image" Target="../media/image1.emf"/><Relationship Id="rId4" Type="http://schemas.openxmlformats.org/officeDocument/2006/relationships/tags" Target="../tags/tag122.xml"/><Relationship Id="rId9" Type="http://schemas.openxmlformats.org/officeDocument/2006/relationships/oleObject" Target="../embeddings/oleObject17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128.xml"/><Relationship Id="rId2" Type="http://schemas.openxmlformats.org/officeDocument/2006/relationships/tags" Target="../tags/tag127.xml"/><Relationship Id="rId1" Type="http://schemas.openxmlformats.org/officeDocument/2006/relationships/tags" Target="../tags/tag126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29.xml"/></Relationships>
</file>

<file path=ppt/slideLayouts/_rels/slideLayout18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8.bin"/><Relationship Id="rId3" Type="http://schemas.openxmlformats.org/officeDocument/2006/relationships/tags" Target="../tags/tag132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131.xml"/><Relationship Id="rId1" Type="http://schemas.openxmlformats.org/officeDocument/2006/relationships/tags" Target="../tags/tag130.xml"/><Relationship Id="rId6" Type="http://schemas.openxmlformats.org/officeDocument/2006/relationships/tags" Target="../tags/tag135.xml"/><Relationship Id="rId5" Type="http://schemas.openxmlformats.org/officeDocument/2006/relationships/tags" Target="../tags/tag134.xml"/><Relationship Id="rId4" Type="http://schemas.openxmlformats.org/officeDocument/2006/relationships/tags" Target="../tags/tag133.xml"/><Relationship Id="rId9" Type="http://schemas.openxmlformats.org/officeDocument/2006/relationships/image" Target="../media/image2.emf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29.xml"/><Relationship Id="rId7" Type="http://schemas.openxmlformats.org/officeDocument/2006/relationships/tags" Target="../tags/tag33.xml"/><Relationship Id="rId2" Type="http://schemas.openxmlformats.org/officeDocument/2006/relationships/tags" Target="../tags/tag28.xml"/><Relationship Id="rId1" Type="http://schemas.openxmlformats.org/officeDocument/2006/relationships/tags" Target="../tags/tag27.xml"/><Relationship Id="rId6" Type="http://schemas.openxmlformats.org/officeDocument/2006/relationships/tags" Target="../tags/tag32.xml"/><Relationship Id="rId5" Type="http://schemas.openxmlformats.org/officeDocument/2006/relationships/tags" Target="../tags/tag31.xml"/><Relationship Id="rId10" Type="http://schemas.openxmlformats.org/officeDocument/2006/relationships/image" Target="../media/image1.emf"/><Relationship Id="rId4" Type="http://schemas.openxmlformats.org/officeDocument/2006/relationships/tags" Target="../tags/tag30.xml"/><Relationship Id="rId9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138.xml"/><Relationship Id="rId7" Type="http://schemas.openxmlformats.org/officeDocument/2006/relationships/tags" Target="../tags/tag142.xml"/><Relationship Id="rId2" Type="http://schemas.openxmlformats.org/officeDocument/2006/relationships/tags" Target="../tags/tag137.xml"/><Relationship Id="rId1" Type="http://schemas.openxmlformats.org/officeDocument/2006/relationships/tags" Target="../tags/tag136.xml"/><Relationship Id="rId6" Type="http://schemas.openxmlformats.org/officeDocument/2006/relationships/tags" Target="../tags/tag141.xml"/><Relationship Id="rId5" Type="http://schemas.openxmlformats.org/officeDocument/2006/relationships/tags" Target="../tags/tag140.xml"/><Relationship Id="rId10" Type="http://schemas.openxmlformats.org/officeDocument/2006/relationships/image" Target="../media/image1.emf"/><Relationship Id="rId4" Type="http://schemas.openxmlformats.org/officeDocument/2006/relationships/tags" Target="../tags/tag139.xml"/><Relationship Id="rId9" Type="http://schemas.openxmlformats.org/officeDocument/2006/relationships/oleObject" Target="../embeddings/oleObject19.bin"/></Relationships>
</file>

<file path=ppt/slideLayouts/_rels/slideLayout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145.xml"/><Relationship Id="rId7" Type="http://schemas.openxmlformats.org/officeDocument/2006/relationships/oleObject" Target="../embeddings/oleObject20.bin"/><Relationship Id="rId2" Type="http://schemas.openxmlformats.org/officeDocument/2006/relationships/tags" Target="../tags/tag144.xml"/><Relationship Id="rId1" Type="http://schemas.openxmlformats.org/officeDocument/2006/relationships/tags" Target="../tags/tag143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147.xml"/><Relationship Id="rId4" Type="http://schemas.openxmlformats.org/officeDocument/2006/relationships/tags" Target="../tags/tag146.xml"/></Relationships>
</file>

<file path=ppt/slideLayouts/_rels/slideLayout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150.xml"/><Relationship Id="rId7" Type="http://schemas.openxmlformats.org/officeDocument/2006/relationships/oleObject" Target="../embeddings/oleObject21.bin"/><Relationship Id="rId2" Type="http://schemas.openxmlformats.org/officeDocument/2006/relationships/tags" Target="../tags/tag149.xml"/><Relationship Id="rId1" Type="http://schemas.openxmlformats.org/officeDocument/2006/relationships/tags" Target="../tags/tag148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152.xml"/><Relationship Id="rId4" Type="http://schemas.openxmlformats.org/officeDocument/2006/relationships/tags" Target="../tags/tag151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4.bin"/><Relationship Id="rId3" Type="http://schemas.openxmlformats.org/officeDocument/2006/relationships/tags" Target="../tags/tag36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35.xml"/><Relationship Id="rId1" Type="http://schemas.openxmlformats.org/officeDocument/2006/relationships/tags" Target="../tags/tag34.xml"/><Relationship Id="rId6" Type="http://schemas.openxmlformats.org/officeDocument/2006/relationships/tags" Target="../tags/tag39.xml"/><Relationship Id="rId5" Type="http://schemas.openxmlformats.org/officeDocument/2006/relationships/tags" Target="../tags/tag38.xml"/><Relationship Id="rId4" Type="http://schemas.openxmlformats.org/officeDocument/2006/relationships/tags" Target="../tags/tag37.xml"/><Relationship Id="rId9" Type="http://schemas.openxmlformats.org/officeDocument/2006/relationships/image" Target="../media/image2.emf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5.bin"/><Relationship Id="rId3" Type="http://schemas.openxmlformats.org/officeDocument/2006/relationships/tags" Target="../tags/tag42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41.xml"/><Relationship Id="rId1" Type="http://schemas.openxmlformats.org/officeDocument/2006/relationships/tags" Target="../tags/tag40.xml"/><Relationship Id="rId6" Type="http://schemas.openxmlformats.org/officeDocument/2006/relationships/tags" Target="../tags/tag45.xml"/><Relationship Id="rId5" Type="http://schemas.openxmlformats.org/officeDocument/2006/relationships/tags" Target="../tags/tag44.xml"/><Relationship Id="rId4" Type="http://schemas.openxmlformats.org/officeDocument/2006/relationships/tags" Target="../tags/tag43.xml"/><Relationship Id="rId9" Type="http://schemas.openxmlformats.org/officeDocument/2006/relationships/image" Target="../media/image2.emf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6.bin"/><Relationship Id="rId3" Type="http://schemas.openxmlformats.org/officeDocument/2006/relationships/tags" Target="../tags/tag48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47.xml"/><Relationship Id="rId1" Type="http://schemas.openxmlformats.org/officeDocument/2006/relationships/tags" Target="../tags/tag46.xml"/><Relationship Id="rId6" Type="http://schemas.openxmlformats.org/officeDocument/2006/relationships/tags" Target="../tags/tag51.xml"/><Relationship Id="rId5" Type="http://schemas.openxmlformats.org/officeDocument/2006/relationships/tags" Target="../tags/tag50.xml"/><Relationship Id="rId4" Type="http://schemas.openxmlformats.org/officeDocument/2006/relationships/tags" Target="../tags/tag49.xml"/><Relationship Id="rId9" Type="http://schemas.openxmlformats.org/officeDocument/2006/relationships/image" Target="../media/image2.emf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54.xml"/><Relationship Id="rId7" Type="http://schemas.openxmlformats.org/officeDocument/2006/relationships/tags" Target="../tags/tag58.xml"/><Relationship Id="rId2" Type="http://schemas.openxmlformats.org/officeDocument/2006/relationships/tags" Target="../tags/tag53.xml"/><Relationship Id="rId1" Type="http://schemas.openxmlformats.org/officeDocument/2006/relationships/tags" Target="../tags/tag52.xml"/><Relationship Id="rId6" Type="http://schemas.openxmlformats.org/officeDocument/2006/relationships/tags" Target="../tags/tag57.xml"/><Relationship Id="rId5" Type="http://schemas.openxmlformats.org/officeDocument/2006/relationships/tags" Target="../tags/tag56.xml"/><Relationship Id="rId10" Type="http://schemas.openxmlformats.org/officeDocument/2006/relationships/image" Target="../media/image2.emf"/><Relationship Id="rId4" Type="http://schemas.openxmlformats.org/officeDocument/2006/relationships/tags" Target="../tags/tag55.xml"/><Relationship Id="rId9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tags" Target="../tags/tag66.xml"/><Relationship Id="rId3" Type="http://schemas.openxmlformats.org/officeDocument/2006/relationships/tags" Target="../tags/tag61.xml"/><Relationship Id="rId7" Type="http://schemas.openxmlformats.org/officeDocument/2006/relationships/tags" Target="../tags/tag65.xml"/><Relationship Id="rId2" Type="http://schemas.openxmlformats.org/officeDocument/2006/relationships/tags" Target="../tags/tag60.xml"/><Relationship Id="rId1" Type="http://schemas.openxmlformats.org/officeDocument/2006/relationships/tags" Target="../tags/tag59.xml"/><Relationship Id="rId6" Type="http://schemas.openxmlformats.org/officeDocument/2006/relationships/tags" Target="../tags/tag64.xml"/><Relationship Id="rId11" Type="http://schemas.openxmlformats.org/officeDocument/2006/relationships/image" Target="../media/image1.emf"/><Relationship Id="rId5" Type="http://schemas.openxmlformats.org/officeDocument/2006/relationships/tags" Target="../tags/tag63.xml"/><Relationship Id="rId10" Type="http://schemas.openxmlformats.org/officeDocument/2006/relationships/oleObject" Target="../embeddings/oleObject8.bin"/><Relationship Id="rId4" Type="http://schemas.openxmlformats.org/officeDocument/2006/relationships/tags" Target="../tags/tag62.xml"/><Relationship Id="rId9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tags" Target="../tags/tag74.xml"/><Relationship Id="rId3" Type="http://schemas.openxmlformats.org/officeDocument/2006/relationships/tags" Target="../tags/tag69.xml"/><Relationship Id="rId7" Type="http://schemas.openxmlformats.org/officeDocument/2006/relationships/tags" Target="../tags/tag73.xml"/><Relationship Id="rId2" Type="http://schemas.openxmlformats.org/officeDocument/2006/relationships/tags" Target="../tags/tag68.xml"/><Relationship Id="rId1" Type="http://schemas.openxmlformats.org/officeDocument/2006/relationships/tags" Target="../tags/tag67.xml"/><Relationship Id="rId6" Type="http://schemas.openxmlformats.org/officeDocument/2006/relationships/tags" Target="../tags/tag72.xml"/><Relationship Id="rId11" Type="http://schemas.openxmlformats.org/officeDocument/2006/relationships/image" Target="../media/image1.emf"/><Relationship Id="rId5" Type="http://schemas.openxmlformats.org/officeDocument/2006/relationships/tags" Target="../tags/tag71.xml"/><Relationship Id="rId10" Type="http://schemas.openxmlformats.org/officeDocument/2006/relationships/oleObject" Target="../embeddings/oleObject9.bin"/><Relationship Id="rId4" Type="http://schemas.openxmlformats.org/officeDocument/2006/relationships/tags" Target="../tags/tag70.xml"/><Relationship Id="rId9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tags" Target="../tags/tag82.xml"/><Relationship Id="rId3" Type="http://schemas.openxmlformats.org/officeDocument/2006/relationships/tags" Target="../tags/tag77.xml"/><Relationship Id="rId7" Type="http://schemas.openxmlformats.org/officeDocument/2006/relationships/tags" Target="../tags/tag81.xml"/><Relationship Id="rId2" Type="http://schemas.openxmlformats.org/officeDocument/2006/relationships/tags" Target="../tags/tag76.xml"/><Relationship Id="rId1" Type="http://schemas.openxmlformats.org/officeDocument/2006/relationships/tags" Target="../tags/tag75.xml"/><Relationship Id="rId6" Type="http://schemas.openxmlformats.org/officeDocument/2006/relationships/tags" Target="../tags/tag80.xml"/><Relationship Id="rId11" Type="http://schemas.openxmlformats.org/officeDocument/2006/relationships/image" Target="../media/image1.emf"/><Relationship Id="rId5" Type="http://schemas.openxmlformats.org/officeDocument/2006/relationships/tags" Target="../tags/tag79.xml"/><Relationship Id="rId10" Type="http://schemas.openxmlformats.org/officeDocument/2006/relationships/oleObject" Target="../embeddings/oleObject10.bin"/><Relationship Id="rId4" Type="http://schemas.openxmlformats.org/officeDocument/2006/relationships/tags" Target="../tags/tag78.xml"/><Relationship Id="rId9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3B562A0-3D6C-45D0-9E85-8A28A804D0F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713400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592" imgH="591" progId="TCLayout.ActiveDocument.1">
                  <p:embed/>
                </p:oleObj>
              </mc:Choice>
              <mc:Fallback>
                <p:oleObj name="think-cell Slide" r:id="rId7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33B562A0-3D6C-45D0-9E85-8A28A804D0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C42428D-965F-410A-AAB0-2F4E028AF07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16" name="Documenttype">
            <a:extLst>
              <a:ext uri="{FF2B5EF4-FFF2-40B4-BE49-F238E27FC236}">
                <a16:creationId xmlns:a16="http://schemas.microsoft.com/office/drawing/2014/main" id="{0CADA7EB-5C2E-4AD4-A32E-534A28817C8A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3"/>
            </p:custDataLst>
          </p:nvPr>
        </p:nvSpPr>
        <p:spPr>
          <a:xfrm>
            <a:off x="550800" y="4510168"/>
            <a:ext cx="11052150" cy="215444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1400" dirty="0"/>
            </a:lvl1pPr>
          </a:lstStyle>
          <a:p>
            <a:pPr lvl="0">
              <a:buNone/>
            </a:pPr>
            <a:r>
              <a:rPr lang="en-US"/>
              <a:t>Edit date or title/role</a:t>
            </a:r>
          </a:p>
        </p:txBody>
      </p:sp>
      <p:sp>
        <p:nvSpPr>
          <p:cNvPr id="18" name="Subtitle">
            <a:extLst>
              <a:ext uri="{FF2B5EF4-FFF2-40B4-BE49-F238E27FC236}">
                <a16:creationId xmlns:a16="http://schemas.microsoft.com/office/drawing/2014/main" id="{C85A1636-E33D-4640-A4BA-89E2008C1ED4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551941" y="4092559"/>
            <a:ext cx="11052150" cy="30777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2000" dirty="0"/>
            </a:lvl1pPr>
          </a:lstStyle>
          <a:p>
            <a:pPr lvl="0">
              <a:buNone/>
            </a:pPr>
            <a:r>
              <a:rPr lang="en-US"/>
              <a:t>Click to edit Master subtitle style</a:t>
            </a:r>
          </a:p>
        </p:txBody>
      </p:sp>
      <p:sp>
        <p:nvSpPr>
          <p:cNvPr id="20" name="Title">
            <a:extLst>
              <a:ext uri="{FF2B5EF4-FFF2-40B4-BE49-F238E27FC236}">
                <a16:creationId xmlns:a16="http://schemas.microsoft.com/office/drawing/2014/main" id="{AA4E4E19-7239-46DA-AE24-CE9556C9BE7D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5"/>
            </p:custDataLst>
          </p:nvPr>
        </p:nvSpPr>
        <p:spPr>
          <a:xfrm>
            <a:off x="551941" y="2617296"/>
            <a:ext cx="11052150" cy="135421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lvl1pPr>
              <a:defRPr lang="en-US" sz="4400" dirty="0"/>
            </a:lvl1pPr>
          </a:lstStyle>
          <a:p>
            <a:pPr lvl="0"/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7C3BB88D-56AB-44C1-B3F6-80A42AFAF155}"/>
              </a:ext>
            </a:extLst>
          </p:cNvPr>
          <p:cNvSpPr txBox="1"/>
          <p:nvPr userDrawn="1"/>
        </p:nvSpPr>
        <p:spPr>
          <a:xfrm>
            <a:off x="3252274" y="6679868"/>
            <a:ext cx="5687454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US" sz="800">
                <a:solidFill>
                  <a:srgbClr val="000000">
                    <a:lumMod val="65000"/>
                    <a:lumOff val="35000"/>
                  </a:srgbClr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©2021 Georgia-Pacific LLC. Confidential and Proprietary Information. Do not distribute or copy without prior consent. All rights reserved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7C3861B5-3C6C-4545-8BDA-FEE76619F7D7}"/>
              </a:ext>
            </a:extLst>
          </p:cNvPr>
          <p:cNvGrpSpPr/>
          <p:nvPr userDrawn="1"/>
        </p:nvGrpSpPr>
        <p:grpSpPr bwMode="ltGray">
          <a:xfrm>
            <a:off x="1" y="6482495"/>
            <a:ext cx="11634787" cy="176931"/>
            <a:chOff x="1" y="6482495"/>
            <a:chExt cx="11634787" cy="176931"/>
          </a:xfrm>
        </p:grpSpPr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E571673C-8317-4ABE-A91C-ACB1E14AA2AA}"/>
                </a:ext>
              </a:extLst>
            </p:cNvPr>
            <p:cNvSpPr/>
            <p:nvPr userDrawn="1"/>
          </p:nvSpPr>
          <p:spPr bwMode="ltGray">
            <a:xfrm>
              <a:off x="2391190" y="6482495"/>
              <a:ext cx="9243598" cy="176931"/>
            </a:xfrm>
            <a:prstGeom prst="rect">
              <a:avLst/>
            </a:prstGeom>
            <a:gradFill flip="none" rotWithShape="1">
              <a:gsLst>
                <a:gs pos="0">
                  <a:schemeClr val="accent2"/>
                </a:gs>
                <a:gs pos="100000">
                  <a:schemeClr val="bg1"/>
                </a:gs>
              </a:gsLst>
              <a:lin ang="10800000" scaled="1"/>
              <a:tileRect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buClr>
                  <a:schemeClr val="bg2"/>
                </a:buClr>
              </a:pPr>
              <a:endParaRPr lang="en-US" sz="1600"/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5A0711BC-85A4-4C1A-A60D-C32984310C99}"/>
                </a:ext>
              </a:extLst>
            </p:cNvPr>
            <p:cNvSpPr/>
            <p:nvPr userDrawn="1"/>
          </p:nvSpPr>
          <p:spPr bwMode="ltGray">
            <a:xfrm>
              <a:off x="1" y="6482495"/>
              <a:ext cx="11604090" cy="152400"/>
            </a:xfrm>
            <a:prstGeom prst="rect">
              <a:avLst/>
            </a:prstGeom>
            <a:solidFill>
              <a:schemeClr val="accent1">
                <a:lumMod val="50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>
                <a:solidFill>
                  <a:schemeClr val="bg1"/>
                </a:solidFill>
              </a:endParaRPr>
            </a:p>
          </p:txBody>
        </p:sp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7ADDE161-098D-4975-82D9-3A879199A460}"/>
              </a:ext>
            </a:extLst>
          </p:cNvPr>
          <p:cNvGrpSpPr/>
          <p:nvPr userDrawn="1"/>
        </p:nvGrpSpPr>
        <p:grpSpPr bwMode="ltGray">
          <a:xfrm>
            <a:off x="547365" y="6116479"/>
            <a:ext cx="1026382" cy="616486"/>
            <a:chOff x="17864" y="-3048674"/>
            <a:chExt cx="2768679" cy="1662981"/>
          </a:xfrm>
        </p:grpSpPr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1240CE31-16B4-4F8F-A81E-18BD83A2C647}"/>
                </a:ext>
              </a:extLst>
            </p:cNvPr>
            <p:cNvSpPr/>
            <p:nvPr/>
          </p:nvSpPr>
          <p:spPr bwMode="ltGray">
            <a:xfrm>
              <a:off x="17864" y="-3048674"/>
              <a:ext cx="2768679" cy="1662981"/>
            </a:xfrm>
            <a:custGeom>
              <a:avLst/>
              <a:gdLst>
                <a:gd name="connsiteX0" fmla="*/ 1384449 w 2768679"/>
                <a:gd name="connsiteY0" fmla="*/ 0 h 1662981"/>
                <a:gd name="connsiteX1" fmla="*/ 2768680 w 2768679"/>
                <a:gd name="connsiteY1" fmla="*/ 1397245 h 1662981"/>
                <a:gd name="connsiteX2" fmla="*/ 1655784 w 2768679"/>
                <a:gd name="connsiteY2" fmla="*/ 1397245 h 1662981"/>
                <a:gd name="connsiteX3" fmla="*/ 1534512 w 2768679"/>
                <a:gd name="connsiteY3" fmla="*/ 1420511 h 1662981"/>
                <a:gd name="connsiteX4" fmla="*/ 1458826 w 2768679"/>
                <a:gd name="connsiteY4" fmla="*/ 1511246 h 1662981"/>
                <a:gd name="connsiteX5" fmla="*/ 1384449 w 2768679"/>
                <a:gd name="connsiteY5" fmla="*/ 1662982 h 1662981"/>
                <a:gd name="connsiteX6" fmla="*/ 1309926 w 2768679"/>
                <a:gd name="connsiteY6" fmla="*/ 1511246 h 1662981"/>
                <a:gd name="connsiteX7" fmla="*/ 1234240 w 2768679"/>
                <a:gd name="connsiteY7" fmla="*/ 1420511 h 1662981"/>
                <a:gd name="connsiteX8" fmla="*/ 1112968 w 2768679"/>
                <a:gd name="connsiteY8" fmla="*/ 1397245 h 1662981"/>
                <a:gd name="connsiteX9" fmla="*/ 0 w 2768679"/>
                <a:gd name="connsiteY9" fmla="*/ 1397245 h 1662981"/>
                <a:gd name="connsiteX10" fmla="*/ 1384449 w 2768679"/>
                <a:gd name="connsiteY10" fmla="*/ 0 h 16629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768679" h="1662981">
                  <a:moveTo>
                    <a:pt x="1384449" y="0"/>
                  </a:moveTo>
                  <a:lnTo>
                    <a:pt x="2768680" y="1397245"/>
                  </a:lnTo>
                  <a:cubicBezTo>
                    <a:pt x="2768680" y="1397245"/>
                    <a:pt x="1656147" y="1397245"/>
                    <a:pt x="1655784" y="1397245"/>
                  </a:cubicBezTo>
                  <a:cubicBezTo>
                    <a:pt x="1601328" y="1397245"/>
                    <a:pt x="1567011" y="1402625"/>
                    <a:pt x="1534512" y="1420511"/>
                  </a:cubicBezTo>
                  <a:cubicBezTo>
                    <a:pt x="1497142" y="1441086"/>
                    <a:pt x="1479692" y="1468423"/>
                    <a:pt x="1458826" y="1511246"/>
                  </a:cubicBezTo>
                  <a:cubicBezTo>
                    <a:pt x="1458899" y="1511319"/>
                    <a:pt x="1384449" y="1662982"/>
                    <a:pt x="1384449" y="1662982"/>
                  </a:cubicBezTo>
                  <a:cubicBezTo>
                    <a:pt x="1384449" y="1662982"/>
                    <a:pt x="1309854" y="1511319"/>
                    <a:pt x="1309926" y="1511246"/>
                  </a:cubicBezTo>
                  <a:cubicBezTo>
                    <a:pt x="1289060" y="1468423"/>
                    <a:pt x="1271611" y="1441086"/>
                    <a:pt x="1234240" y="1420511"/>
                  </a:cubicBezTo>
                  <a:cubicBezTo>
                    <a:pt x="1201741" y="1402625"/>
                    <a:pt x="1167424" y="1397245"/>
                    <a:pt x="1112968" y="1397245"/>
                  </a:cubicBezTo>
                  <a:cubicBezTo>
                    <a:pt x="1112605" y="1397245"/>
                    <a:pt x="0" y="1397245"/>
                    <a:pt x="0" y="1397245"/>
                  </a:cubicBezTo>
                  <a:lnTo>
                    <a:pt x="1384449" y="0"/>
                  </a:lnTo>
                </a:path>
              </a:pathLst>
            </a:custGeom>
            <a:solidFill>
              <a:srgbClr val="0E5D9D"/>
            </a:solidFill>
            <a:ln w="119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DBC78A8E-D49C-489B-B214-7B5421E2DD29}"/>
                </a:ext>
              </a:extLst>
            </p:cNvPr>
            <p:cNvSpPr/>
            <p:nvPr/>
          </p:nvSpPr>
          <p:spPr bwMode="ltGray">
            <a:xfrm>
              <a:off x="688858" y="-2386985"/>
              <a:ext cx="673102" cy="637477"/>
            </a:xfrm>
            <a:custGeom>
              <a:avLst/>
              <a:gdLst>
                <a:gd name="connsiteX0" fmla="*/ 673103 w 673102"/>
                <a:gd name="connsiteY0" fmla="*/ 589710 h 637477"/>
                <a:gd name="connsiteX1" fmla="*/ 388390 w 673102"/>
                <a:gd name="connsiteY1" fmla="*/ 637478 h 637477"/>
                <a:gd name="connsiteX2" fmla="*/ 0 w 673102"/>
                <a:gd name="connsiteY2" fmla="*/ 323246 h 637477"/>
                <a:gd name="connsiteX3" fmla="*/ 394279 w 673102"/>
                <a:gd name="connsiteY3" fmla="*/ 0 h 637477"/>
                <a:gd name="connsiteX4" fmla="*/ 670486 w 673102"/>
                <a:gd name="connsiteY4" fmla="*/ 54165 h 637477"/>
                <a:gd name="connsiteX5" fmla="*/ 670486 w 673102"/>
                <a:gd name="connsiteY5" fmla="*/ 197249 h 637477"/>
                <a:gd name="connsiteX6" fmla="*/ 649910 w 673102"/>
                <a:gd name="connsiteY6" fmla="*/ 197249 h 637477"/>
                <a:gd name="connsiteX7" fmla="*/ 417108 w 673102"/>
                <a:gd name="connsiteY7" fmla="*/ 115092 h 637477"/>
                <a:gd name="connsiteX8" fmla="*/ 192014 w 673102"/>
                <a:gd name="connsiteY8" fmla="*/ 315467 h 637477"/>
                <a:gd name="connsiteX9" fmla="*/ 422707 w 673102"/>
                <a:gd name="connsiteY9" fmla="*/ 519695 h 637477"/>
                <a:gd name="connsiteX10" fmla="*/ 489014 w 673102"/>
                <a:gd name="connsiteY10" fmla="*/ 509371 h 637477"/>
                <a:gd name="connsiteX11" fmla="*/ 489014 w 673102"/>
                <a:gd name="connsiteY11" fmla="*/ 396460 h 637477"/>
                <a:gd name="connsiteX12" fmla="*/ 344185 w 673102"/>
                <a:gd name="connsiteY12" fmla="*/ 396460 h 637477"/>
                <a:gd name="connsiteX13" fmla="*/ 344185 w 673102"/>
                <a:gd name="connsiteY13" fmla="*/ 281368 h 637477"/>
                <a:gd name="connsiteX14" fmla="*/ 673103 w 673102"/>
                <a:gd name="connsiteY14" fmla="*/ 281368 h 637477"/>
                <a:gd name="connsiteX15" fmla="*/ 673103 w 673102"/>
                <a:gd name="connsiteY15" fmla="*/ 589710 h 6374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673102" h="637477">
                  <a:moveTo>
                    <a:pt x="673103" y="589710"/>
                  </a:moveTo>
                  <a:cubicBezTo>
                    <a:pt x="608032" y="611449"/>
                    <a:pt x="512061" y="637478"/>
                    <a:pt x="388390" y="637478"/>
                  </a:cubicBezTo>
                  <a:cubicBezTo>
                    <a:pt x="117927" y="637478"/>
                    <a:pt x="0" y="499483"/>
                    <a:pt x="0" y="323246"/>
                  </a:cubicBezTo>
                  <a:cubicBezTo>
                    <a:pt x="0" y="121054"/>
                    <a:pt x="160532" y="0"/>
                    <a:pt x="394279" y="0"/>
                  </a:cubicBezTo>
                  <a:cubicBezTo>
                    <a:pt x="516496" y="0"/>
                    <a:pt x="591164" y="21303"/>
                    <a:pt x="670486" y="54165"/>
                  </a:cubicBezTo>
                  <a:lnTo>
                    <a:pt x="670486" y="197249"/>
                  </a:lnTo>
                  <a:lnTo>
                    <a:pt x="649910" y="197249"/>
                  </a:lnTo>
                  <a:cubicBezTo>
                    <a:pt x="592546" y="153117"/>
                    <a:pt x="526529" y="115092"/>
                    <a:pt x="417108" y="115092"/>
                  </a:cubicBezTo>
                  <a:cubicBezTo>
                    <a:pt x="278969" y="115092"/>
                    <a:pt x="192014" y="191650"/>
                    <a:pt x="192014" y="315467"/>
                  </a:cubicBezTo>
                  <a:cubicBezTo>
                    <a:pt x="192014" y="424597"/>
                    <a:pt x="246324" y="525948"/>
                    <a:pt x="422707" y="519695"/>
                  </a:cubicBezTo>
                  <a:cubicBezTo>
                    <a:pt x="440374" y="519041"/>
                    <a:pt x="469819" y="515115"/>
                    <a:pt x="489014" y="509371"/>
                  </a:cubicBezTo>
                  <a:lnTo>
                    <a:pt x="489014" y="396460"/>
                  </a:lnTo>
                  <a:lnTo>
                    <a:pt x="344185" y="396460"/>
                  </a:lnTo>
                  <a:lnTo>
                    <a:pt x="344185" y="281368"/>
                  </a:lnTo>
                  <a:lnTo>
                    <a:pt x="673103" y="281368"/>
                  </a:lnTo>
                  <a:lnTo>
                    <a:pt x="673103" y="589710"/>
                  </a:lnTo>
                </a:path>
              </a:pathLst>
            </a:custGeom>
            <a:solidFill>
              <a:srgbClr val="FFFFFF"/>
            </a:solidFill>
            <a:ln w="119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3907495A-59A8-41BE-A1C7-C0D52021DC9E}"/>
                </a:ext>
              </a:extLst>
            </p:cNvPr>
            <p:cNvSpPr/>
            <p:nvPr/>
          </p:nvSpPr>
          <p:spPr bwMode="ltGray">
            <a:xfrm>
              <a:off x="1449207" y="-2373753"/>
              <a:ext cx="602869" cy="611158"/>
            </a:xfrm>
            <a:custGeom>
              <a:avLst/>
              <a:gdLst>
                <a:gd name="connsiteX0" fmla="*/ 413546 w 602869"/>
                <a:gd name="connsiteY0" fmla="*/ 202992 h 611158"/>
                <a:gd name="connsiteX1" fmla="*/ 364034 w 602869"/>
                <a:gd name="connsiteY1" fmla="*/ 281587 h 611158"/>
                <a:gd name="connsiteX2" fmla="*/ 274679 w 602869"/>
                <a:gd name="connsiteY2" fmla="*/ 296637 h 611158"/>
                <a:gd name="connsiteX3" fmla="*/ 184234 w 602869"/>
                <a:gd name="connsiteY3" fmla="*/ 296637 h 611158"/>
                <a:gd name="connsiteX4" fmla="*/ 184234 w 602869"/>
                <a:gd name="connsiteY4" fmla="*/ 114947 h 611158"/>
                <a:gd name="connsiteX5" fmla="*/ 274679 w 602869"/>
                <a:gd name="connsiteY5" fmla="*/ 114947 h 611158"/>
                <a:gd name="connsiteX6" fmla="*/ 364034 w 602869"/>
                <a:gd name="connsiteY6" fmla="*/ 127234 h 611158"/>
                <a:gd name="connsiteX7" fmla="*/ 413546 w 602869"/>
                <a:gd name="connsiteY7" fmla="*/ 202992 h 611158"/>
                <a:gd name="connsiteX8" fmla="*/ 506318 w 602869"/>
                <a:gd name="connsiteY8" fmla="*/ 36134 h 611158"/>
                <a:gd name="connsiteX9" fmla="*/ 316194 w 602869"/>
                <a:gd name="connsiteY9" fmla="*/ 0 h 611158"/>
                <a:gd name="connsiteX10" fmla="*/ 0 w 602869"/>
                <a:gd name="connsiteY10" fmla="*/ 0 h 611158"/>
                <a:gd name="connsiteX11" fmla="*/ 0 w 602869"/>
                <a:gd name="connsiteY11" fmla="*/ 611158 h 611158"/>
                <a:gd name="connsiteX12" fmla="*/ 184234 w 602869"/>
                <a:gd name="connsiteY12" fmla="*/ 611158 h 611158"/>
                <a:gd name="connsiteX13" fmla="*/ 184234 w 602869"/>
                <a:gd name="connsiteY13" fmla="*/ 411729 h 611158"/>
                <a:gd name="connsiteX14" fmla="*/ 311759 w 602869"/>
                <a:gd name="connsiteY14" fmla="*/ 411729 h 611158"/>
                <a:gd name="connsiteX15" fmla="*/ 505081 w 602869"/>
                <a:gd name="connsiteY15" fmla="*/ 372468 h 611158"/>
                <a:gd name="connsiteX16" fmla="*/ 602870 w 602869"/>
                <a:gd name="connsiteY16" fmla="*/ 192814 h 611158"/>
                <a:gd name="connsiteX17" fmla="*/ 506318 w 602869"/>
                <a:gd name="connsiteY17" fmla="*/ 36134 h 6111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602869" h="611158">
                  <a:moveTo>
                    <a:pt x="413546" y="202992"/>
                  </a:moveTo>
                  <a:cubicBezTo>
                    <a:pt x="413546" y="247561"/>
                    <a:pt x="389481" y="269808"/>
                    <a:pt x="364034" y="281587"/>
                  </a:cubicBezTo>
                  <a:cubicBezTo>
                    <a:pt x="340405" y="292492"/>
                    <a:pt x="305870" y="296637"/>
                    <a:pt x="274679" y="296637"/>
                  </a:cubicBezTo>
                  <a:lnTo>
                    <a:pt x="184234" y="296637"/>
                  </a:lnTo>
                  <a:lnTo>
                    <a:pt x="184234" y="114947"/>
                  </a:lnTo>
                  <a:lnTo>
                    <a:pt x="274679" y="114947"/>
                  </a:lnTo>
                  <a:cubicBezTo>
                    <a:pt x="305870" y="114947"/>
                    <a:pt x="340405" y="116401"/>
                    <a:pt x="364034" y="127234"/>
                  </a:cubicBezTo>
                  <a:cubicBezTo>
                    <a:pt x="389481" y="139012"/>
                    <a:pt x="413546" y="158570"/>
                    <a:pt x="413546" y="202992"/>
                  </a:cubicBezTo>
                  <a:close/>
                  <a:moveTo>
                    <a:pt x="506318" y="36134"/>
                  </a:moveTo>
                  <a:cubicBezTo>
                    <a:pt x="455933" y="7634"/>
                    <a:pt x="390498" y="0"/>
                    <a:pt x="316194" y="0"/>
                  </a:cubicBezTo>
                  <a:lnTo>
                    <a:pt x="0" y="0"/>
                  </a:lnTo>
                  <a:lnTo>
                    <a:pt x="0" y="611158"/>
                  </a:lnTo>
                  <a:lnTo>
                    <a:pt x="184234" y="611158"/>
                  </a:lnTo>
                  <a:lnTo>
                    <a:pt x="184234" y="411729"/>
                  </a:lnTo>
                  <a:lnTo>
                    <a:pt x="311759" y="411729"/>
                  </a:lnTo>
                  <a:cubicBezTo>
                    <a:pt x="383446" y="411729"/>
                    <a:pt x="450916" y="403149"/>
                    <a:pt x="505081" y="372468"/>
                  </a:cubicBezTo>
                  <a:cubicBezTo>
                    <a:pt x="568917" y="336261"/>
                    <a:pt x="602870" y="279551"/>
                    <a:pt x="602870" y="192814"/>
                  </a:cubicBezTo>
                  <a:cubicBezTo>
                    <a:pt x="602870" y="116837"/>
                    <a:pt x="570371" y="72414"/>
                    <a:pt x="506318" y="36134"/>
                  </a:cubicBezTo>
                </a:path>
              </a:pathLst>
            </a:custGeom>
            <a:solidFill>
              <a:srgbClr val="FFFFFF"/>
            </a:solidFill>
            <a:ln w="119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44818662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293AC4C-5B2F-4A0C-8C9B-7295BEE1F4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702718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572" imgH="588" progId="TCLayout.ActiveDocument.1">
                  <p:embed/>
                </p:oleObj>
              </mc:Choice>
              <mc:Fallback>
                <p:oleObj name="think-cell Slide" r:id="rId10" imgW="572" imgH="58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293AC4C-5B2F-4A0C-8C9B-7295BEE1F4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D668F04-7049-40BA-8D63-D8BBB692131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0415F114-7B0E-43F2-8881-F0D9FB2A643B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72212"/>
            <a:ext cx="6967728" cy="384721"/>
          </a:xfrm>
        </p:spPr>
        <p:txBody>
          <a:bodyPr>
            <a:spAutoFit/>
          </a:bodyPr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rgbClr val="CEE6FA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712BED6B-950C-4FB8-AEE1-14FA61D013FF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6" y="591912"/>
            <a:ext cx="6967728" cy="27699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F25A304F-F50E-4F96-991D-CFEB07060178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1501840" y="6331418"/>
            <a:ext cx="6967729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7C393009-0681-4A8F-A1E9-19E10A949DC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74717107-C9CD-46A2-81E0-BF3D727528AE}"/>
              </a:ext>
            </a:extLst>
          </p:cNvPr>
          <p:cNvGrpSpPr/>
          <p:nvPr userDrawn="1"/>
        </p:nvGrpSpPr>
        <p:grpSpPr bwMode="ltGray">
          <a:xfrm>
            <a:off x="547365" y="6116479"/>
            <a:ext cx="1026382" cy="616486"/>
            <a:chOff x="17864" y="-3048674"/>
            <a:chExt cx="2768679" cy="1662981"/>
          </a:xfrm>
        </p:grpSpPr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8FEBE131-E9F3-4F9B-B142-A5A99349FA55}"/>
                </a:ext>
              </a:extLst>
            </p:cNvPr>
            <p:cNvSpPr/>
            <p:nvPr/>
          </p:nvSpPr>
          <p:spPr bwMode="ltGray">
            <a:xfrm>
              <a:off x="17864" y="-3048674"/>
              <a:ext cx="2768679" cy="1662981"/>
            </a:xfrm>
            <a:custGeom>
              <a:avLst/>
              <a:gdLst>
                <a:gd name="connsiteX0" fmla="*/ 1384449 w 2768679"/>
                <a:gd name="connsiteY0" fmla="*/ 0 h 1662981"/>
                <a:gd name="connsiteX1" fmla="*/ 2768680 w 2768679"/>
                <a:gd name="connsiteY1" fmla="*/ 1397245 h 1662981"/>
                <a:gd name="connsiteX2" fmla="*/ 1655784 w 2768679"/>
                <a:gd name="connsiteY2" fmla="*/ 1397245 h 1662981"/>
                <a:gd name="connsiteX3" fmla="*/ 1534512 w 2768679"/>
                <a:gd name="connsiteY3" fmla="*/ 1420511 h 1662981"/>
                <a:gd name="connsiteX4" fmla="*/ 1458826 w 2768679"/>
                <a:gd name="connsiteY4" fmla="*/ 1511246 h 1662981"/>
                <a:gd name="connsiteX5" fmla="*/ 1384449 w 2768679"/>
                <a:gd name="connsiteY5" fmla="*/ 1662982 h 1662981"/>
                <a:gd name="connsiteX6" fmla="*/ 1309926 w 2768679"/>
                <a:gd name="connsiteY6" fmla="*/ 1511246 h 1662981"/>
                <a:gd name="connsiteX7" fmla="*/ 1234240 w 2768679"/>
                <a:gd name="connsiteY7" fmla="*/ 1420511 h 1662981"/>
                <a:gd name="connsiteX8" fmla="*/ 1112968 w 2768679"/>
                <a:gd name="connsiteY8" fmla="*/ 1397245 h 1662981"/>
                <a:gd name="connsiteX9" fmla="*/ 0 w 2768679"/>
                <a:gd name="connsiteY9" fmla="*/ 1397245 h 1662981"/>
                <a:gd name="connsiteX10" fmla="*/ 1384449 w 2768679"/>
                <a:gd name="connsiteY10" fmla="*/ 0 h 16629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768679" h="1662981">
                  <a:moveTo>
                    <a:pt x="1384449" y="0"/>
                  </a:moveTo>
                  <a:lnTo>
                    <a:pt x="2768680" y="1397245"/>
                  </a:lnTo>
                  <a:cubicBezTo>
                    <a:pt x="2768680" y="1397245"/>
                    <a:pt x="1656147" y="1397245"/>
                    <a:pt x="1655784" y="1397245"/>
                  </a:cubicBezTo>
                  <a:cubicBezTo>
                    <a:pt x="1601328" y="1397245"/>
                    <a:pt x="1567011" y="1402625"/>
                    <a:pt x="1534512" y="1420511"/>
                  </a:cubicBezTo>
                  <a:cubicBezTo>
                    <a:pt x="1497142" y="1441086"/>
                    <a:pt x="1479692" y="1468423"/>
                    <a:pt x="1458826" y="1511246"/>
                  </a:cubicBezTo>
                  <a:cubicBezTo>
                    <a:pt x="1458899" y="1511319"/>
                    <a:pt x="1384449" y="1662982"/>
                    <a:pt x="1384449" y="1662982"/>
                  </a:cubicBezTo>
                  <a:cubicBezTo>
                    <a:pt x="1384449" y="1662982"/>
                    <a:pt x="1309854" y="1511319"/>
                    <a:pt x="1309926" y="1511246"/>
                  </a:cubicBezTo>
                  <a:cubicBezTo>
                    <a:pt x="1289060" y="1468423"/>
                    <a:pt x="1271611" y="1441086"/>
                    <a:pt x="1234240" y="1420511"/>
                  </a:cubicBezTo>
                  <a:cubicBezTo>
                    <a:pt x="1201741" y="1402625"/>
                    <a:pt x="1167424" y="1397245"/>
                    <a:pt x="1112968" y="1397245"/>
                  </a:cubicBezTo>
                  <a:cubicBezTo>
                    <a:pt x="1112605" y="1397245"/>
                    <a:pt x="0" y="1397245"/>
                    <a:pt x="0" y="1397245"/>
                  </a:cubicBezTo>
                  <a:lnTo>
                    <a:pt x="1384449" y="0"/>
                  </a:lnTo>
                </a:path>
              </a:pathLst>
            </a:custGeom>
            <a:solidFill>
              <a:srgbClr val="0E5D9D"/>
            </a:solidFill>
            <a:ln w="119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6F7C0D6C-16DF-4BCD-9C95-17D76156C08B}"/>
                </a:ext>
              </a:extLst>
            </p:cNvPr>
            <p:cNvSpPr/>
            <p:nvPr/>
          </p:nvSpPr>
          <p:spPr bwMode="ltGray">
            <a:xfrm>
              <a:off x="688858" y="-2386985"/>
              <a:ext cx="673102" cy="637477"/>
            </a:xfrm>
            <a:custGeom>
              <a:avLst/>
              <a:gdLst>
                <a:gd name="connsiteX0" fmla="*/ 673103 w 673102"/>
                <a:gd name="connsiteY0" fmla="*/ 589710 h 637477"/>
                <a:gd name="connsiteX1" fmla="*/ 388390 w 673102"/>
                <a:gd name="connsiteY1" fmla="*/ 637478 h 637477"/>
                <a:gd name="connsiteX2" fmla="*/ 0 w 673102"/>
                <a:gd name="connsiteY2" fmla="*/ 323246 h 637477"/>
                <a:gd name="connsiteX3" fmla="*/ 394279 w 673102"/>
                <a:gd name="connsiteY3" fmla="*/ 0 h 637477"/>
                <a:gd name="connsiteX4" fmla="*/ 670486 w 673102"/>
                <a:gd name="connsiteY4" fmla="*/ 54165 h 637477"/>
                <a:gd name="connsiteX5" fmla="*/ 670486 w 673102"/>
                <a:gd name="connsiteY5" fmla="*/ 197249 h 637477"/>
                <a:gd name="connsiteX6" fmla="*/ 649910 w 673102"/>
                <a:gd name="connsiteY6" fmla="*/ 197249 h 637477"/>
                <a:gd name="connsiteX7" fmla="*/ 417108 w 673102"/>
                <a:gd name="connsiteY7" fmla="*/ 115092 h 637477"/>
                <a:gd name="connsiteX8" fmla="*/ 192014 w 673102"/>
                <a:gd name="connsiteY8" fmla="*/ 315467 h 637477"/>
                <a:gd name="connsiteX9" fmla="*/ 422707 w 673102"/>
                <a:gd name="connsiteY9" fmla="*/ 519695 h 637477"/>
                <a:gd name="connsiteX10" fmla="*/ 489014 w 673102"/>
                <a:gd name="connsiteY10" fmla="*/ 509371 h 637477"/>
                <a:gd name="connsiteX11" fmla="*/ 489014 w 673102"/>
                <a:gd name="connsiteY11" fmla="*/ 396460 h 637477"/>
                <a:gd name="connsiteX12" fmla="*/ 344185 w 673102"/>
                <a:gd name="connsiteY12" fmla="*/ 396460 h 637477"/>
                <a:gd name="connsiteX13" fmla="*/ 344185 w 673102"/>
                <a:gd name="connsiteY13" fmla="*/ 281368 h 637477"/>
                <a:gd name="connsiteX14" fmla="*/ 673103 w 673102"/>
                <a:gd name="connsiteY14" fmla="*/ 281368 h 637477"/>
                <a:gd name="connsiteX15" fmla="*/ 673103 w 673102"/>
                <a:gd name="connsiteY15" fmla="*/ 589710 h 6374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673102" h="637477">
                  <a:moveTo>
                    <a:pt x="673103" y="589710"/>
                  </a:moveTo>
                  <a:cubicBezTo>
                    <a:pt x="608032" y="611449"/>
                    <a:pt x="512061" y="637478"/>
                    <a:pt x="388390" y="637478"/>
                  </a:cubicBezTo>
                  <a:cubicBezTo>
                    <a:pt x="117927" y="637478"/>
                    <a:pt x="0" y="499483"/>
                    <a:pt x="0" y="323246"/>
                  </a:cubicBezTo>
                  <a:cubicBezTo>
                    <a:pt x="0" y="121054"/>
                    <a:pt x="160532" y="0"/>
                    <a:pt x="394279" y="0"/>
                  </a:cubicBezTo>
                  <a:cubicBezTo>
                    <a:pt x="516496" y="0"/>
                    <a:pt x="591164" y="21303"/>
                    <a:pt x="670486" y="54165"/>
                  </a:cubicBezTo>
                  <a:lnTo>
                    <a:pt x="670486" y="197249"/>
                  </a:lnTo>
                  <a:lnTo>
                    <a:pt x="649910" y="197249"/>
                  </a:lnTo>
                  <a:cubicBezTo>
                    <a:pt x="592546" y="153117"/>
                    <a:pt x="526529" y="115092"/>
                    <a:pt x="417108" y="115092"/>
                  </a:cubicBezTo>
                  <a:cubicBezTo>
                    <a:pt x="278969" y="115092"/>
                    <a:pt x="192014" y="191650"/>
                    <a:pt x="192014" y="315467"/>
                  </a:cubicBezTo>
                  <a:cubicBezTo>
                    <a:pt x="192014" y="424597"/>
                    <a:pt x="246324" y="525948"/>
                    <a:pt x="422707" y="519695"/>
                  </a:cubicBezTo>
                  <a:cubicBezTo>
                    <a:pt x="440374" y="519041"/>
                    <a:pt x="469819" y="515115"/>
                    <a:pt x="489014" y="509371"/>
                  </a:cubicBezTo>
                  <a:lnTo>
                    <a:pt x="489014" y="396460"/>
                  </a:lnTo>
                  <a:lnTo>
                    <a:pt x="344185" y="396460"/>
                  </a:lnTo>
                  <a:lnTo>
                    <a:pt x="344185" y="281368"/>
                  </a:lnTo>
                  <a:lnTo>
                    <a:pt x="673103" y="281368"/>
                  </a:lnTo>
                  <a:lnTo>
                    <a:pt x="673103" y="589710"/>
                  </a:lnTo>
                </a:path>
              </a:pathLst>
            </a:custGeom>
            <a:solidFill>
              <a:srgbClr val="FFFFFF"/>
            </a:solidFill>
            <a:ln w="119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19DDE191-E5FC-4DBF-BB87-5A37455249A5}"/>
                </a:ext>
              </a:extLst>
            </p:cNvPr>
            <p:cNvSpPr/>
            <p:nvPr/>
          </p:nvSpPr>
          <p:spPr bwMode="ltGray">
            <a:xfrm>
              <a:off x="1449207" y="-2373753"/>
              <a:ext cx="602869" cy="611158"/>
            </a:xfrm>
            <a:custGeom>
              <a:avLst/>
              <a:gdLst>
                <a:gd name="connsiteX0" fmla="*/ 413546 w 602869"/>
                <a:gd name="connsiteY0" fmla="*/ 202992 h 611158"/>
                <a:gd name="connsiteX1" fmla="*/ 364034 w 602869"/>
                <a:gd name="connsiteY1" fmla="*/ 281587 h 611158"/>
                <a:gd name="connsiteX2" fmla="*/ 274679 w 602869"/>
                <a:gd name="connsiteY2" fmla="*/ 296637 h 611158"/>
                <a:gd name="connsiteX3" fmla="*/ 184234 w 602869"/>
                <a:gd name="connsiteY3" fmla="*/ 296637 h 611158"/>
                <a:gd name="connsiteX4" fmla="*/ 184234 w 602869"/>
                <a:gd name="connsiteY4" fmla="*/ 114947 h 611158"/>
                <a:gd name="connsiteX5" fmla="*/ 274679 w 602869"/>
                <a:gd name="connsiteY5" fmla="*/ 114947 h 611158"/>
                <a:gd name="connsiteX6" fmla="*/ 364034 w 602869"/>
                <a:gd name="connsiteY6" fmla="*/ 127234 h 611158"/>
                <a:gd name="connsiteX7" fmla="*/ 413546 w 602869"/>
                <a:gd name="connsiteY7" fmla="*/ 202992 h 611158"/>
                <a:gd name="connsiteX8" fmla="*/ 506318 w 602869"/>
                <a:gd name="connsiteY8" fmla="*/ 36134 h 611158"/>
                <a:gd name="connsiteX9" fmla="*/ 316194 w 602869"/>
                <a:gd name="connsiteY9" fmla="*/ 0 h 611158"/>
                <a:gd name="connsiteX10" fmla="*/ 0 w 602869"/>
                <a:gd name="connsiteY10" fmla="*/ 0 h 611158"/>
                <a:gd name="connsiteX11" fmla="*/ 0 w 602869"/>
                <a:gd name="connsiteY11" fmla="*/ 611158 h 611158"/>
                <a:gd name="connsiteX12" fmla="*/ 184234 w 602869"/>
                <a:gd name="connsiteY12" fmla="*/ 611158 h 611158"/>
                <a:gd name="connsiteX13" fmla="*/ 184234 w 602869"/>
                <a:gd name="connsiteY13" fmla="*/ 411729 h 611158"/>
                <a:gd name="connsiteX14" fmla="*/ 311759 w 602869"/>
                <a:gd name="connsiteY14" fmla="*/ 411729 h 611158"/>
                <a:gd name="connsiteX15" fmla="*/ 505081 w 602869"/>
                <a:gd name="connsiteY15" fmla="*/ 372468 h 611158"/>
                <a:gd name="connsiteX16" fmla="*/ 602870 w 602869"/>
                <a:gd name="connsiteY16" fmla="*/ 192814 h 611158"/>
                <a:gd name="connsiteX17" fmla="*/ 506318 w 602869"/>
                <a:gd name="connsiteY17" fmla="*/ 36134 h 6111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602869" h="611158">
                  <a:moveTo>
                    <a:pt x="413546" y="202992"/>
                  </a:moveTo>
                  <a:cubicBezTo>
                    <a:pt x="413546" y="247561"/>
                    <a:pt x="389481" y="269808"/>
                    <a:pt x="364034" y="281587"/>
                  </a:cubicBezTo>
                  <a:cubicBezTo>
                    <a:pt x="340405" y="292492"/>
                    <a:pt x="305870" y="296637"/>
                    <a:pt x="274679" y="296637"/>
                  </a:cubicBezTo>
                  <a:lnTo>
                    <a:pt x="184234" y="296637"/>
                  </a:lnTo>
                  <a:lnTo>
                    <a:pt x="184234" y="114947"/>
                  </a:lnTo>
                  <a:lnTo>
                    <a:pt x="274679" y="114947"/>
                  </a:lnTo>
                  <a:cubicBezTo>
                    <a:pt x="305870" y="114947"/>
                    <a:pt x="340405" y="116401"/>
                    <a:pt x="364034" y="127234"/>
                  </a:cubicBezTo>
                  <a:cubicBezTo>
                    <a:pt x="389481" y="139012"/>
                    <a:pt x="413546" y="158570"/>
                    <a:pt x="413546" y="202992"/>
                  </a:cubicBezTo>
                  <a:close/>
                  <a:moveTo>
                    <a:pt x="506318" y="36134"/>
                  </a:moveTo>
                  <a:cubicBezTo>
                    <a:pt x="455933" y="7634"/>
                    <a:pt x="390498" y="0"/>
                    <a:pt x="316194" y="0"/>
                  </a:cubicBezTo>
                  <a:lnTo>
                    <a:pt x="0" y="0"/>
                  </a:lnTo>
                  <a:lnTo>
                    <a:pt x="0" y="611158"/>
                  </a:lnTo>
                  <a:lnTo>
                    <a:pt x="184234" y="611158"/>
                  </a:lnTo>
                  <a:lnTo>
                    <a:pt x="184234" y="411729"/>
                  </a:lnTo>
                  <a:lnTo>
                    <a:pt x="311759" y="411729"/>
                  </a:lnTo>
                  <a:cubicBezTo>
                    <a:pt x="383446" y="411729"/>
                    <a:pt x="450916" y="403149"/>
                    <a:pt x="505081" y="372468"/>
                  </a:cubicBezTo>
                  <a:cubicBezTo>
                    <a:pt x="568917" y="336261"/>
                    <a:pt x="602870" y="279551"/>
                    <a:pt x="602870" y="192814"/>
                  </a:cubicBezTo>
                  <a:cubicBezTo>
                    <a:pt x="602870" y="116837"/>
                    <a:pt x="570371" y="72414"/>
                    <a:pt x="506318" y="36134"/>
                  </a:cubicBezTo>
                </a:path>
              </a:pathLst>
            </a:custGeom>
            <a:solidFill>
              <a:srgbClr val="FFFFFF"/>
            </a:solidFill>
            <a:ln w="119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15" name="Slide Number">
            <a:extLst>
              <a:ext uri="{FF2B5EF4-FFF2-40B4-BE49-F238E27FC236}">
                <a16:creationId xmlns:a16="http://schemas.microsoft.com/office/drawing/2014/main" id="{6F2B7B6B-D286-4830-85EA-04126774E6D3}"/>
              </a:ext>
            </a:extLst>
          </p:cNvPr>
          <p:cNvSpPr>
            <a:spLocks noChangeArrowheads="1"/>
          </p:cNvSpPr>
          <p:nvPr userDrawn="1">
            <p:custDataLst>
              <p:tags r:id="rId8"/>
            </p:custDataLst>
          </p:nvPr>
        </p:nvSpPr>
        <p:spPr bwMode="black">
          <a:xfrm>
            <a:off x="11750644" y="6679868"/>
            <a:ext cx="325501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ct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8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ct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8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28C8A770-02BD-4AC5-B921-BC35D0215FEF}"/>
              </a:ext>
            </a:extLst>
          </p:cNvPr>
          <p:cNvSpPr txBox="1"/>
          <p:nvPr userDrawn="1"/>
        </p:nvSpPr>
        <p:spPr>
          <a:xfrm>
            <a:off x="3252274" y="6679868"/>
            <a:ext cx="5687454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US" sz="800">
                <a:solidFill>
                  <a:srgbClr val="000000">
                    <a:lumMod val="65000"/>
                    <a:lumOff val="35000"/>
                  </a:srgbClr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©2021 Georgia-Pacific LLC. Confidential and Proprietary Information. Do not distribute or copy without prior consent. All rights reserved</a:t>
            </a:r>
          </a:p>
        </p:txBody>
      </p:sp>
    </p:spTree>
    <p:extLst>
      <p:ext uri="{BB962C8B-B14F-4D97-AF65-F5344CB8AC3E}">
        <p14:creationId xmlns:p14="http://schemas.microsoft.com/office/powerpoint/2010/main" val="131521989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/4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338529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50854476-2923-4515-A585-4477FF86118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3" name="RectangleLight">
            <a:extLst>
              <a:ext uri="{FF2B5EF4-FFF2-40B4-BE49-F238E27FC236}">
                <a16:creationId xmlns:a16="http://schemas.microsoft.com/office/drawing/2014/main" id="{A80E2F68-4ED6-42EF-9858-2FE4B1382825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8781416" y="0"/>
            <a:ext cx="3410584" cy="6858000"/>
          </a:xfrm>
          <a:prstGeom prst="rect">
            <a:avLst/>
          </a:prstGeom>
          <a:solidFill>
            <a:srgbClr val="CEE6FA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noProof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2212"/>
            <a:ext cx="7918704" cy="384721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6" y="591912"/>
            <a:ext cx="7918704" cy="27699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1501840" y="6331418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DEC2F904-C5C8-4B39-9C46-6CA56144D86A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C505D95B-D31C-4E6D-B5BC-54FC0CD7937B}"/>
              </a:ext>
            </a:extLst>
          </p:cNvPr>
          <p:cNvGrpSpPr/>
          <p:nvPr userDrawn="1"/>
        </p:nvGrpSpPr>
        <p:grpSpPr bwMode="ltGray">
          <a:xfrm>
            <a:off x="547365" y="6116479"/>
            <a:ext cx="1026382" cy="616486"/>
            <a:chOff x="17864" y="-3048674"/>
            <a:chExt cx="2768679" cy="1662981"/>
          </a:xfrm>
        </p:grpSpPr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BF92C1D9-1F29-4A3F-AC77-78B3280322F9}"/>
                </a:ext>
              </a:extLst>
            </p:cNvPr>
            <p:cNvSpPr/>
            <p:nvPr/>
          </p:nvSpPr>
          <p:spPr bwMode="ltGray">
            <a:xfrm>
              <a:off x="17864" y="-3048674"/>
              <a:ext cx="2768679" cy="1662981"/>
            </a:xfrm>
            <a:custGeom>
              <a:avLst/>
              <a:gdLst>
                <a:gd name="connsiteX0" fmla="*/ 1384449 w 2768679"/>
                <a:gd name="connsiteY0" fmla="*/ 0 h 1662981"/>
                <a:gd name="connsiteX1" fmla="*/ 2768680 w 2768679"/>
                <a:gd name="connsiteY1" fmla="*/ 1397245 h 1662981"/>
                <a:gd name="connsiteX2" fmla="*/ 1655784 w 2768679"/>
                <a:gd name="connsiteY2" fmla="*/ 1397245 h 1662981"/>
                <a:gd name="connsiteX3" fmla="*/ 1534512 w 2768679"/>
                <a:gd name="connsiteY3" fmla="*/ 1420511 h 1662981"/>
                <a:gd name="connsiteX4" fmla="*/ 1458826 w 2768679"/>
                <a:gd name="connsiteY4" fmla="*/ 1511246 h 1662981"/>
                <a:gd name="connsiteX5" fmla="*/ 1384449 w 2768679"/>
                <a:gd name="connsiteY5" fmla="*/ 1662982 h 1662981"/>
                <a:gd name="connsiteX6" fmla="*/ 1309926 w 2768679"/>
                <a:gd name="connsiteY6" fmla="*/ 1511246 h 1662981"/>
                <a:gd name="connsiteX7" fmla="*/ 1234240 w 2768679"/>
                <a:gd name="connsiteY7" fmla="*/ 1420511 h 1662981"/>
                <a:gd name="connsiteX8" fmla="*/ 1112968 w 2768679"/>
                <a:gd name="connsiteY8" fmla="*/ 1397245 h 1662981"/>
                <a:gd name="connsiteX9" fmla="*/ 0 w 2768679"/>
                <a:gd name="connsiteY9" fmla="*/ 1397245 h 1662981"/>
                <a:gd name="connsiteX10" fmla="*/ 1384449 w 2768679"/>
                <a:gd name="connsiteY10" fmla="*/ 0 h 16629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768679" h="1662981">
                  <a:moveTo>
                    <a:pt x="1384449" y="0"/>
                  </a:moveTo>
                  <a:lnTo>
                    <a:pt x="2768680" y="1397245"/>
                  </a:lnTo>
                  <a:cubicBezTo>
                    <a:pt x="2768680" y="1397245"/>
                    <a:pt x="1656147" y="1397245"/>
                    <a:pt x="1655784" y="1397245"/>
                  </a:cubicBezTo>
                  <a:cubicBezTo>
                    <a:pt x="1601328" y="1397245"/>
                    <a:pt x="1567011" y="1402625"/>
                    <a:pt x="1534512" y="1420511"/>
                  </a:cubicBezTo>
                  <a:cubicBezTo>
                    <a:pt x="1497142" y="1441086"/>
                    <a:pt x="1479692" y="1468423"/>
                    <a:pt x="1458826" y="1511246"/>
                  </a:cubicBezTo>
                  <a:cubicBezTo>
                    <a:pt x="1458899" y="1511319"/>
                    <a:pt x="1384449" y="1662982"/>
                    <a:pt x="1384449" y="1662982"/>
                  </a:cubicBezTo>
                  <a:cubicBezTo>
                    <a:pt x="1384449" y="1662982"/>
                    <a:pt x="1309854" y="1511319"/>
                    <a:pt x="1309926" y="1511246"/>
                  </a:cubicBezTo>
                  <a:cubicBezTo>
                    <a:pt x="1289060" y="1468423"/>
                    <a:pt x="1271611" y="1441086"/>
                    <a:pt x="1234240" y="1420511"/>
                  </a:cubicBezTo>
                  <a:cubicBezTo>
                    <a:pt x="1201741" y="1402625"/>
                    <a:pt x="1167424" y="1397245"/>
                    <a:pt x="1112968" y="1397245"/>
                  </a:cubicBezTo>
                  <a:cubicBezTo>
                    <a:pt x="1112605" y="1397245"/>
                    <a:pt x="0" y="1397245"/>
                    <a:pt x="0" y="1397245"/>
                  </a:cubicBezTo>
                  <a:lnTo>
                    <a:pt x="1384449" y="0"/>
                  </a:lnTo>
                </a:path>
              </a:pathLst>
            </a:custGeom>
            <a:solidFill>
              <a:srgbClr val="0E5D9D"/>
            </a:solidFill>
            <a:ln w="119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92D2E5B2-1563-45FC-ACCD-DE930BBCD814}"/>
                </a:ext>
              </a:extLst>
            </p:cNvPr>
            <p:cNvSpPr/>
            <p:nvPr/>
          </p:nvSpPr>
          <p:spPr bwMode="ltGray">
            <a:xfrm>
              <a:off x="688858" y="-2386985"/>
              <a:ext cx="673102" cy="637477"/>
            </a:xfrm>
            <a:custGeom>
              <a:avLst/>
              <a:gdLst>
                <a:gd name="connsiteX0" fmla="*/ 673103 w 673102"/>
                <a:gd name="connsiteY0" fmla="*/ 589710 h 637477"/>
                <a:gd name="connsiteX1" fmla="*/ 388390 w 673102"/>
                <a:gd name="connsiteY1" fmla="*/ 637478 h 637477"/>
                <a:gd name="connsiteX2" fmla="*/ 0 w 673102"/>
                <a:gd name="connsiteY2" fmla="*/ 323246 h 637477"/>
                <a:gd name="connsiteX3" fmla="*/ 394279 w 673102"/>
                <a:gd name="connsiteY3" fmla="*/ 0 h 637477"/>
                <a:gd name="connsiteX4" fmla="*/ 670486 w 673102"/>
                <a:gd name="connsiteY4" fmla="*/ 54165 h 637477"/>
                <a:gd name="connsiteX5" fmla="*/ 670486 w 673102"/>
                <a:gd name="connsiteY5" fmla="*/ 197249 h 637477"/>
                <a:gd name="connsiteX6" fmla="*/ 649910 w 673102"/>
                <a:gd name="connsiteY6" fmla="*/ 197249 h 637477"/>
                <a:gd name="connsiteX7" fmla="*/ 417108 w 673102"/>
                <a:gd name="connsiteY7" fmla="*/ 115092 h 637477"/>
                <a:gd name="connsiteX8" fmla="*/ 192014 w 673102"/>
                <a:gd name="connsiteY8" fmla="*/ 315467 h 637477"/>
                <a:gd name="connsiteX9" fmla="*/ 422707 w 673102"/>
                <a:gd name="connsiteY9" fmla="*/ 519695 h 637477"/>
                <a:gd name="connsiteX10" fmla="*/ 489014 w 673102"/>
                <a:gd name="connsiteY10" fmla="*/ 509371 h 637477"/>
                <a:gd name="connsiteX11" fmla="*/ 489014 w 673102"/>
                <a:gd name="connsiteY11" fmla="*/ 396460 h 637477"/>
                <a:gd name="connsiteX12" fmla="*/ 344185 w 673102"/>
                <a:gd name="connsiteY12" fmla="*/ 396460 h 637477"/>
                <a:gd name="connsiteX13" fmla="*/ 344185 w 673102"/>
                <a:gd name="connsiteY13" fmla="*/ 281368 h 637477"/>
                <a:gd name="connsiteX14" fmla="*/ 673103 w 673102"/>
                <a:gd name="connsiteY14" fmla="*/ 281368 h 637477"/>
                <a:gd name="connsiteX15" fmla="*/ 673103 w 673102"/>
                <a:gd name="connsiteY15" fmla="*/ 589710 h 6374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673102" h="637477">
                  <a:moveTo>
                    <a:pt x="673103" y="589710"/>
                  </a:moveTo>
                  <a:cubicBezTo>
                    <a:pt x="608032" y="611449"/>
                    <a:pt x="512061" y="637478"/>
                    <a:pt x="388390" y="637478"/>
                  </a:cubicBezTo>
                  <a:cubicBezTo>
                    <a:pt x="117927" y="637478"/>
                    <a:pt x="0" y="499483"/>
                    <a:pt x="0" y="323246"/>
                  </a:cubicBezTo>
                  <a:cubicBezTo>
                    <a:pt x="0" y="121054"/>
                    <a:pt x="160532" y="0"/>
                    <a:pt x="394279" y="0"/>
                  </a:cubicBezTo>
                  <a:cubicBezTo>
                    <a:pt x="516496" y="0"/>
                    <a:pt x="591164" y="21303"/>
                    <a:pt x="670486" y="54165"/>
                  </a:cubicBezTo>
                  <a:lnTo>
                    <a:pt x="670486" y="197249"/>
                  </a:lnTo>
                  <a:lnTo>
                    <a:pt x="649910" y="197249"/>
                  </a:lnTo>
                  <a:cubicBezTo>
                    <a:pt x="592546" y="153117"/>
                    <a:pt x="526529" y="115092"/>
                    <a:pt x="417108" y="115092"/>
                  </a:cubicBezTo>
                  <a:cubicBezTo>
                    <a:pt x="278969" y="115092"/>
                    <a:pt x="192014" y="191650"/>
                    <a:pt x="192014" y="315467"/>
                  </a:cubicBezTo>
                  <a:cubicBezTo>
                    <a:pt x="192014" y="424597"/>
                    <a:pt x="246324" y="525948"/>
                    <a:pt x="422707" y="519695"/>
                  </a:cubicBezTo>
                  <a:cubicBezTo>
                    <a:pt x="440374" y="519041"/>
                    <a:pt x="469819" y="515115"/>
                    <a:pt x="489014" y="509371"/>
                  </a:cubicBezTo>
                  <a:lnTo>
                    <a:pt x="489014" y="396460"/>
                  </a:lnTo>
                  <a:lnTo>
                    <a:pt x="344185" y="396460"/>
                  </a:lnTo>
                  <a:lnTo>
                    <a:pt x="344185" y="281368"/>
                  </a:lnTo>
                  <a:lnTo>
                    <a:pt x="673103" y="281368"/>
                  </a:lnTo>
                  <a:lnTo>
                    <a:pt x="673103" y="589710"/>
                  </a:lnTo>
                </a:path>
              </a:pathLst>
            </a:custGeom>
            <a:solidFill>
              <a:srgbClr val="FFFFFF"/>
            </a:solidFill>
            <a:ln w="119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21AB3E5A-5212-4FD1-AE9A-31F0120C7DD1}"/>
                </a:ext>
              </a:extLst>
            </p:cNvPr>
            <p:cNvSpPr/>
            <p:nvPr/>
          </p:nvSpPr>
          <p:spPr bwMode="ltGray">
            <a:xfrm>
              <a:off x="1449207" y="-2373753"/>
              <a:ext cx="602869" cy="611158"/>
            </a:xfrm>
            <a:custGeom>
              <a:avLst/>
              <a:gdLst>
                <a:gd name="connsiteX0" fmla="*/ 413546 w 602869"/>
                <a:gd name="connsiteY0" fmla="*/ 202992 h 611158"/>
                <a:gd name="connsiteX1" fmla="*/ 364034 w 602869"/>
                <a:gd name="connsiteY1" fmla="*/ 281587 h 611158"/>
                <a:gd name="connsiteX2" fmla="*/ 274679 w 602869"/>
                <a:gd name="connsiteY2" fmla="*/ 296637 h 611158"/>
                <a:gd name="connsiteX3" fmla="*/ 184234 w 602869"/>
                <a:gd name="connsiteY3" fmla="*/ 296637 h 611158"/>
                <a:gd name="connsiteX4" fmla="*/ 184234 w 602869"/>
                <a:gd name="connsiteY4" fmla="*/ 114947 h 611158"/>
                <a:gd name="connsiteX5" fmla="*/ 274679 w 602869"/>
                <a:gd name="connsiteY5" fmla="*/ 114947 h 611158"/>
                <a:gd name="connsiteX6" fmla="*/ 364034 w 602869"/>
                <a:gd name="connsiteY6" fmla="*/ 127234 h 611158"/>
                <a:gd name="connsiteX7" fmla="*/ 413546 w 602869"/>
                <a:gd name="connsiteY7" fmla="*/ 202992 h 611158"/>
                <a:gd name="connsiteX8" fmla="*/ 506318 w 602869"/>
                <a:gd name="connsiteY8" fmla="*/ 36134 h 611158"/>
                <a:gd name="connsiteX9" fmla="*/ 316194 w 602869"/>
                <a:gd name="connsiteY9" fmla="*/ 0 h 611158"/>
                <a:gd name="connsiteX10" fmla="*/ 0 w 602869"/>
                <a:gd name="connsiteY10" fmla="*/ 0 h 611158"/>
                <a:gd name="connsiteX11" fmla="*/ 0 w 602869"/>
                <a:gd name="connsiteY11" fmla="*/ 611158 h 611158"/>
                <a:gd name="connsiteX12" fmla="*/ 184234 w 602869"/>
                <a:gd name="connsiteY12" fmla="*/ 611158 h 611158"/>
                <a:gd name="connsiteX13" fmla="*/ 184234 w 602869"/>
                <a:gd name="connsiteY13" fmla="*/ 411729 h 611158"/>
                <a:gd name="connsiteX14" fmla="*/ 311759 w 602869"/>
                <a:gd name="connsiteY14" fmla="*/ 411729 h 611158"/>
                <a:gd name="connsiteX15" fmla="*/ 505081 w 602869"/>
                <a:gd name="connsiteY15" fmla="*/ 372468 h 611158"/>
                <a:gd name="connsiteX16" fmla="*/ 602870 w 602869"/>
                <a:gd name="connsiteY16" fmla="*/ 192814 h 611158"/>
                <a:gd name="connsiteX17" fmla="*/ 506318 w 602869"/>
                <a:gd name="connsiteY17" fmla="*/ 36134 h 6111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602869" h="611158">
                  <a:moveTo>
                    <a:pt x="413546" y="202992"/>
                  </a:moveTo>
                  <a:cubicBezTo>
                    <a:pt x="413546" y="247561"/>
                    <a:pt x="389481" y="269808"/>
                    <a:pt x="364034" y="281587"/>
                  </a:cubicBezTo>
                  <a:cubicBezTo>
                    <a:pt x="340405" y="292492"/>
                    <a:pt x="305870" y="296637"/>
                    <a:pt x="274679" y="296637"/>
                  </a:cubicBezTo>
                  <a:lnTo>
                    <a:pt x="184234" y="296637"/>
                  </a:lnTo>
                  <a:lnTo>
                    <a:pt x="184234" y="114947"/>
                  </a:lnTo>
                  <a:lnTo>
                    <a:pt x="274679" y="114947"/>
                  </a:lnTo>
                  <a:cubicBezTo>
                    <a:pt x="305870" y="114947"/>
                    <a:pt x="340405" y="116401"/>
                    <a:pt x="364034" y="127234"/>
                  </a:cubicBezTo>
                  <a:cubicBezTo>
                    <a:pt x="389481" y="139012"/>
                    <a:pt x="413546" y="158570"/>
                    <a:pt x="413546" y="202992"/>
                  </a:cubicBezTo>
                  <a:close/>
                  <a:moveTo>
                    <a:pt x="506318" y="36134"/>
                  </a:moveTo>
                  <a:cubicBezTo>
                    <a:pt x="455933" y="7634"/>
                    <a:pt x="390498" y="0"/>
                    <a:pt x="316194" y="0"/>
                  </a:cubicBezTo>
                  <a:lnTo>
                    <a:pt x="0" y="0"/>
                  </a:lnTo>
                  <a:lnTo>
                    <a:pt x="0" y="611158"/>
                  </a:lnTo>
                  <a:lnTo>
                    <a:pt x="184234" y="611158"/>
                  </a:lnTo>
                  <a:lnTo>
                    <a:pt x="184234" y="411729"/>
                  </a:lnTo>
                  <a:lnTo>
                    <a:pt x="311759" y="411729"/>
                  </a:lnTo>
                  <a:cubicBezTo>
                    <a:pt x="383446" y="411729"/>
                    <a:pt x="450916" y="403149"/>
                    <a:pt x="505081" y="372468"/>
                  </a:cubicBezTo>
                  <a:cubicBezTo>
                    <a:pt x="568917" y="336261"/>
                    <a:pt x="602870" y="279551"/>
                    <a:pt x="602870" y="192814"/>
                  </a:cubicBezTo>
                  <a:cubicBezTo>
                    <a:pt x="602870" y="116837"/>
                    <a:pt x="570371" y="72414"/>
                    <a:pt x="506318" y="36134"/>
                  </a:cubicBezTo>
                </a:path>
              </a:pathLst>
            </a:custGeom>
            <a:solidFill>
              <a:srgbClr val="FFFFFF"/>
            </a:solidFill>
            <a:ln w="119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15" name="Slide Number">
            <a:extLst>
              <a:ext uri="{FF2B5EF4-FFF2-40B4-BE49-F238E27FC236}">
                <a16:creationId xmlns:a16="http://schemas.microsoft.com/office/drawing/2014/main" id="{7766B651-0BE1-4A76-AEB4-5A141F27149E}"/>
              </a:ext>
            </a:extLst>
          </p:cNvPr>
          <p:cNvSpPr>
            <a:spLocks noChangeArrowheads="1"/>
          </p:cNvSpPr>
          <p:nvPr userDrawn="1">
            <p:custDataLst>
              <p:tags r:id="rId8"/>
            </p:custDataLst>
          </p:nvPr>
        </p:nvSpPr>
        <p:spPr bwMode="black">
          <a:xfrm>
            <a:off x="11750644" y="6679868"/>
            <a:ext cx="325501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ct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8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ct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8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B52FF8AB-0733-4FA4-97D2-4CB5C9DDFAC5}"/>
              </a:ext>
            </a:extLst>
          </p:cNvPr>
          <p:cNvSpPr txBox="1"/>
          <p:nvPr userDrawn="1"/>
        </p:nvSpPr>
        <p:spPr>
          <a:xfrm>
            <a:off x="3252274" y="6679868"/>
            <a:ext cx="5687454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US" sz="800">
                <a:solidFill>
                  <a:srgbClr val="000000">
                    <a:lumMod val="65000"/>
                    <a:lumOff val="35000"/>
                  </a:srgbClr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©2021 Georgia-Pacific LLC. Confidential and Proprietary Information. Do not distribute or copy without prior consent. All rights reserved</a:t>
            </a:r>
          </a:p>
        </p:txBody>
      </p:sp>
    </p:spTree>
    <p:extLst>
      <p:ext uri="{BB962C8B-B14F-4D97-AF65-F5344CB8AC3E}">
        <p14:creationId xmlns:p14="http://schemas.microsoft.com/office/powerpoint/2010/main" val="50388454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648A5D5-75B9-4F02-A4CB-B3C65A9BF2C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629330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648A5D5-75B9-4F02-A4CB-B3C65A9BF2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58AAF75-30DC-408A-933A-149F2D14D18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D193292-D1FF-45C2-B33E-F014DE254E2B}"/>
              </a:ext>
            </a:extLst>
          </p:cNvPr>
          <p:cNvSpPr txBox="1"/>
          <p:nvPr userDrawn="1"/>
        </p:nvSpPr>
        <p:spPr>
          <a:xfrm>
            <a:off x="3252274" y="6679868"/>
            <a:ext cx="5687454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US" sz="800">
                <a:solidFill>
                  <a:srgbClr val="000000">
                    <a:lumMod val="65000"/>
                    <a:lumOff val="35000"/>
                  </a:srgbClr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©2021 Georgia-Pacific LLC. Confidential and Proprietary Information. Do not distribute or copy without prior consent. All rights reserved</a:t>
            </a: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5961DD16-F026-42C5-9583-E5163027432D}"/>
              </a:ext>
            </a:extLst>
          </p:cNvPr>
          <p:cNvGrpSpPr/>
          <p:nvPr userDrawn="1"/>
        </p:nvGrpSpPr>
        <p:grpSpPr bwMode="ltGray">
          <a:xfrm>
            <a:off x="1" y="6482495"/>
            <a:ext cx="11634787" cy="176931"/>
            <a:chOff x="1" y="6482495"/>
            <a:chExt cx="11634787" cy="176931"/>
          </a:xfrm>
        </p:grpSpPr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62851325-83A4-43E8-8E31-2F17F183F438}"/>
                </a:ext>
              </a:extLst>
            </p:cNvPr>
            <p:cNvSpPr/>
            <p:nvPr userDrawn="1"/>
          </p:nvSpPr>
          <p:spPr bwMode="ltGray">
            <a:xfrm>
              <a:off x="2391190" y="6482495"/>
              <a:ext cx="9243598" cy="176931"/>
            </a:xfrm>
            <a:prstGeom prst="rect">
              <a:avLst/>
            </a:prstGeom>
            <a:gradFill flip="none" rotWithShape="1">
              <a:gsLst>
                <a:gs pos="0">
                  <a:schemeClr val="accent2"/>
                </a:gs>
                <a:gs pos="100000">
                  <a:schemeClr val="bg1"/>
                </a:gs>
              </a:gsLst>
              <a:lin ang="10800000" scaled="1"/>
              <a:tileRect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buClr>
                  <a:schemeClr val="bg2"/>
                </a:buClr>
              </a:pPr>
              <a:endParaRPr lang="en-US" sz="1600"/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EE667A90-603C-4D80-A779-74183E583919}"/>
                </a:ext>
              </a:extLst>
            </p:cNvPr>
            <p:cNvSpPr/>
            <p:nvPr userDrawn="1"/>
          </p:nvSpPr>
          <p:spPr bwMode="ltGray">
            <a:xfrm>
              <a:off x="1" y="6482495"/>
              <a:ext cx="11604090" cy="152400"/>
            </a:xfrm>
            <a:prstGeom prst="rect">
              <a:avLst/>
            </a:prstGeom>
            <a:solidFill>
              <a:schemeClr val="accent1">
                <a:lumMod val="50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>
                <a:solidFill>
                  <a:schemeClr val="bg1"/>
                </a:solidFill>
              </a:endParaRPr>
            </a:p>
          </p:txBody>
        </p:sp>
      </p:grpSp>
      <p:sp>
        <p:nvSpPr>
          <p:cNvPr id="4" name="2. Slide Title">
            <a:extLst>
              <a:ext uri="{FF2B5EF4-FFF2-40B4-BE49-F238E27FC236}">
                <a16:creationId xmlns:a16="http://schemas.microsoft.com/office/drawing/2014/main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72212"/>
            <a:ext cx="11082528" cy="384721"/>
          </a:xfrm>
        </p:spPr>
        <p:txBody>
          <a:bodyPr>
            <a:spAutoFit/>
          </a:bodyPr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81E2484B-3E40-408C-A350-5EB40C8A09F0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1501840" y="6331418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Source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931AA88E-24E2-4493-A340-98EE8666A3B2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10BB7E3B-E204-42B0-9E75-94A599F94440}"/>
              </a:ext>
            </a:extLst>
          </p:cNvPr>
          <p:cNvGrpSpPr/>
          <p:nvPr userDrawn="1"/>
        </p:nvGrpSpPr>
        <p:grpSpPr bwMode="ltGray">
          <a:xfrm>
            <a:off x="547365" y="6116479"/>
            <a:ext cx="1026382" cy="616486"/>
            <a:chOff x="17864" y="-3048674"/>
            <a:chExt cx="2768679" cy="1662981"/>
          </a:xfrm>
        </p:grpSpPr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2BD8ADFA-61C4-4FDE-B8F5-EB2A4A098AA3}"/>
                </a:ext>
              </a:extLst>
            </p:cNvPr>
            <p:cNvSpPr/>
            <p:nvPr/>
          </p:nvSpPr>
          <p:spPr bwMode="ltGray">
            <a:xfrm>
              <a:off x="17864" y="-3048674"/>
              <a:ext cx="2768679" cy="1662981"/>
            </a:xfrm>
            <a:custGeom>
              <a:avLst/>
              <a:gdLst>
                <a:gd name="connsiteX0" fmla="*/ 1384449 w 2768679"/>
                <a:gd name="connsiteY0" fmla="*/ 0 h 1662981"/>
                <a:gd name="connsiteX1" fmla="*/ 2768680 w 2768679"/>
                <a:gd name="connsiteY1" fmla="*/ 1397245 h 1662981"/>
                <a:gd name="connsiteX2" fmla="*/ 1655784 w 2768679"/>
                <a:gd name="connsiteY2" fmla="*/ 1397245 h 1662981"/>
                <a:gd name="connsiteX3" fmla="*/ 1534512 w 2768679"/>
                <a:gd name="connsiteY3" fmla="*/ 1420511 h 1662981"/>
                <a:gd name="connsiteX4" fmla="*/ 1458826 w 2768679"/>
                <a:gd name="connsiteY4" fmla="*/ 1511246 h 1662981"/>
                <a:gd name="connsiteX5" fmla="*/ 1384449 w 2768679"/>
                <a:gd name="connsiteY5" fmla="*/ 1662982 h 1662981"/>
                <a:gd name="connsiteX6" fmla="*/ 1309926 w 2768679"/>
                <a:gd name="connsiteY6" fmla="*/ 1511246 h 1662981"/>
                <a:gd name="connsiteX7" fmla="*/ 1234240 w 2768679"/>
                <a:gd name="connsiteY7" fmla="*/ 1420511 h 1662981"/>
                <a:gd name="connsiteX8" fmla="*/ 1112968 w 2768679"/>
                <a:gd name="connsiteY8" fmla="*/ 1397245 h 1662981"/>
                <a:gd name="connsiteX9" fmla="*/ 0 w 2768679"/>
                <a:gd name="connsiteY9" fmla="*/ 1397245 h 1662981"/>
                <a:gd name="connsiteX10" fmla="*/ 1384449 w 2768679"/>
                <a:gd name="connsiteY10" fmla="*/ 0 h 16629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768679" h="1662981">
                  <a:moveTo>
                    <a:pt x="1384449" y="0"/>
                  </a:moveTo>
                  <a:lnTo>
                    <a:pt x="2768680" y="1397245"/>
                  </a:lnTo>
                  <a:cubicBezTo>
                    <a:pt x="2768680" y="1397245"/>
                    <a:pt x="1656147" y="1397245"/>
                    <a:pt x="1655784" y="1397245"/>
                  </a:cubicBezTo>
                  <a:cubicBezTo>
                    <a:pt x="1601328" y="1397245"/>
                    <a:pt x="1567011" y="1402625"/>
                    <a:pt x="1534512" y="1420511"/>
                  </a:cubicBezTo>
                  <a:cubicBezTo>
                    <a:pt x="1497142" y="1441086"/>
                    <a:pt x="1479692" y="1468423"/>
                    <a:pt x="1458826" y="1511246"/>
                  </a:cubicBezTo>
                  <a:cubicBezTo>
                    <a:pt x="1458899" y="1511319"/>
                    <a:pt x="1384449" y="1662982"/>
                    <a:pt x="1384449" y="1662982"/>
                  </a:cubicBezTo>
                  <a:cubicBezTo>
                    <a:pt x="1384449" y="1662982"/>
                    <a:pt x="1309854" y="1511319"/>
                    <a:pt x="1309926" y="1511246"/>
                  </a:cubicBezTo>
                  <a:cubicBezTo>
                    <a:pt x="1289060" y="1468423"/>
                    <a:pt x="1271611" y="1441086"/>
                    <a:pt x="1234240" y="1420511"/>
                  </a:cubicBezTo>
                  <a:cubicBezTo>
                    <a:pt x="1201741" y="1402625"/>
                    <a:pt x="1167424" y="1397245"/>
                    <a:pt x="1112968" y="1397245"/>
                  </a:cubicBezTo>
                  <a:cubicBezTo>
                    <a:pt x="1112605" y="1397245"/>
                    <a:pt x="0" y="1397245"/>
                    <a:pt x="0" y="1397245"/>
                  </a:cubicBezTo>
                  <a:lnTo>
                    <a:pt x="1384449" y="0"/>
                  </a:lnTo>
                </a:path>
              </a:pathLst>
            </a:custGeom>
            <a:solidFill>
              <a:srgbClr val="0E5D9D"/>
            </a:solidFill>
            <a:ln w="119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2C084352-FA26-4635-80F3-4119F101AA52}"/>
                </a:ext>
              </a:extLst>
            </p:cNvPr>
            <p:cNvSpPr/>
            <p:nvPr/>
          </p:nvSpPr>
          <p:spPr bwMode="ltGray">
            <a:xfrm>
              <a:off x="688858" y="-2386985"/>
              <a:ext cx="673102" cy="637477"/>
            </a:xfrm>
            <a:custGeom>
              <a:avLst/>
              <a:gdLst>
                <a:gd name="connsiteX0" fmla="*/ 673103 w 673102"/>
                <a:gd name="connsiteY0" fmla="*/ 589710 h 637477"/>
                <a:gd name="connsiteX1" fmla="*/ 388390 w 673102"/>
                <a:gd name="connsiteY1" fmla="*/ 637478 h 637477"/>
                <a:gd name="connsiteX2" fmla="*/ 0 w 673102"/>
                <a:gd name="connsiteY2" fmla="*/ 323246 h 637477"/>
                <a:gd name="connsiteX3" fmla="*/ 394279 w 673102"/>
                <a:gd name="connsiteY3" fmla="*/ 0 h 637477"/>
                <a:gd name="connsiteX4" fmla="*/ 670486 w 673102"/>
                <a:gd name="connsiteY4" fmla="*/ 54165 h 637477"/>
                <a:gd name="connsiteX5" fmla="*/ 670486 w 673102"/>
                <a:gd name="connsiteY5" fmla="*/ 197249 h 637477"/>
                <a:gd name="connsiteX6" fmla="*/ 649910 w 673102"/>
                <a:gd name="connsiteY6" fmla="*/ 197249 h 637477"/>
                <a:gd name="connsiteX7" fmla="*/ 417108 w 673102"/>
                <a:gd name="connsiteY7" fmla="*/ 115092 h 637477"/>
                <a:gd name="connsiteX8" fmla="*/ 192014 w 673102"/>
                <a:gd name="connsiteY8" fmla="*/ 315467 h 637477"/>
                <a:gd name="connsiteX9" fmla="*/ 422707 w 673102"/>
                <a:gd name="connsiteY9" fmla="*/ 519695 h 637477"/>
                <a:gd name="connsiteX10" fmla="*/ 489014 w 673102"/>
                <a:gd name="connsiteY10" fmla="*/ 509371 h 637477"/>
                <a:gd name="connsiteX11" fmla="*/ 489014 w 673102"/>
                <a:gd name="connsiteY11" fmla="*/ 396460 h 637477"/>
                <a:gd name="connsiteX12" fmla="*/ 344185 w 673102"/>
                <a:gd name="connsiteY12" fmla="*/ 396460 h 637477"/>
                <a:gd name="connsiteX13" fmla="*/ 344185 w 673102"/>
                <a:gd name="connsiteY13" fmla="*/ 281368 h 637477"/>
                <a:gd name="connsiteX14" fmla="*/ 673103 w 673102"/>
                <a:gd name="connsiteY14" fmla="*/ 281368 h 637477"/>
                <a:gd name="connsiteX15" fmla="*/ 673103 w 673102"/>
                <a:gd name="connsiteY15" fmla="*/ 589710 h 6374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673102" h="637477">
                  <a:moveTo>
                    <a:pt x="673103" y="589710"/>
                  </a:moveTo>
                  <a:cubicBezTo>
                    <a:pt x="608032" y="611449"/>
                    <a:pt x="512061" y="637478"/>
                    <a:pt x="388390" y="637478"/>
                  </a:cubicBezTo>
                  <a:cubicBezTo>
                    <a:pt x="117927" y="637478"/>
                    <a:pt x="0" y="499483"/>
                    <a:pt x="0" y="323246"/>
                  </a:cubicBezTo>
                  <a:cubicBezTo>
                    <a:pt x="0" y="121054"/>
                    <a:pt x="160532" y="0"/>
                    <a:pt x="394279" y="0"/>
                  </a:cubicBezTo>
                  <a:cubicBezTo>
                    <a:pt x="516496" y="0"/>
                    <a:pt x="591164" y="21303"/>
                    <a:pt x="670486" y="54165"/>
                  </a:cubicBezTo>
                  <a:lnTo>
                    <a:pt x="670486" y="197249"/>
                  </a:lnTo>
                  <a:lnTo>
                    <a:pt x="649910" y="197249"/>
                  </a:lnTo>
                  <a:cubicBezTo>
                    <a:pt x="592546" y="153117"/>
                    <a:pt x="526529" y="115092"/>
                    <a:pt x="417108" y="115092"/>
                  </a:cubicBezTo>
                  <a:cubicBezTo>
                    <a:pt x="278969" y="115092"/>
                    <a:pt x="192014" y="191650"/>
                    <a:pt x="192014" y="315467"/>
                  </a:cubicBezTo>
                  <a:cubicBezTo>
                    <a:pt x="192014" y="424597"/>
                    <a:pt x="246324" y="525948"/>
                    <a:pt x="422707" y="519695"/>
                  </a:cubicBezTo>
                  <a:cubicBezTo>
                    <a:pt x="440374" y="519041"/>
                    <a:pt x="469819" y="515115"/>
                    <a:pt x="489014" y="509371"/>
                  </a:cubicBezTo>
                  <a:lnTo>
                    <a:pt x="489014" y="396460"/>
                  </a:lnTo>
                  <a:lnTo>
                    <a:pt x="344185" y="396460"/>
                  </a:lnTo>
                  <a:lnTo>
                    <a:pt x="344185" y="281368"/>
                  </a:lnTo>
                  <a:lnTo>
                    <a:pt x="673103" y="281368"/>
                  </a:lnTo>
                  <a:lnTo>
                    <a:pt x="673103" y="589710"/>
                  </a:lnTo>
                </a:path>
              </a:pathLst>
            </a:custGeom>
            <a:solidFill>
              <a:srgbClr val="FFFFFF"/>
            </a:solidFill>
            <a:ln w="119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6067EF3D-70AD-4DC1-9B15-F1336FE60359}"/>
                </a:ext>
              </a:extLst>
            </p:cNvPr>
            <p:cNvSpPr/>
            <p:nvPr/>
          </p:nvSpPr>
          <p:spPr bwMode="ltGray">
            <a:xfrm>
              <a:off x="1449207" y="-2373753"/>
              <a:ext cx="602869" cy="611158"/>
            </a:xfrm>
            <a:custGeom>
              <a:avLst/>
              <a:gdLst>
                <a:gd name="connsiteX0" fmla="*/ 413546 w 602869"/>
                <a:gd name="connsiteY0" fmla="*/ 202992 h 611158"/>
                <a:gd name="connsiteX1" fmla="*/ 364034 w 602869"/>
                <a:gd name="connsiteY1" fmla="*/ 281587 h 611158"/>
                <a:gd name="connsiteX2" fmla="*/ 274679 w 602869"/>
                <a:gd name="connsiteY2" fmla="*/ 296637 h 611158"/>
                <a:gd name="connsiteX3" fmla="*/ 184234 w 602869"/>
                <a:gd name="connsiteY3" fmla="*/ 296637 h 611158"/>
                <a:gd name="connsiteX4" fmla="*/ 184234 w 602869"/>
                <a:gd name="connsiteY4" fmla="*/ 114947 h 611158"/>
                <a:gd name="connsiteX5" fmla="*/ 274679 w 602869"/>
                <a:gd name="connsiteY5" fmla="*/ 114947 h 611158"/>
                <a:gd name="connsiteX6" fmla="*/ 364034 w 602869"/>
                <a:gd name="connsiteY6" fmla="*/ 127234 h 611158"/>
                <a:gd name="connsiteX7" fmla="*/ 413546 w 602869"/>
                <a:gd name="connsiteY7" fmla="*/ 202992 h 611158"/>
                <a:gd name="connsiteX8" fmla="*/ 506318 w 602869"/>
                <a:gd name="connsiteY8" fmla="*/ 36134 h 611158"/>
                <a:gd name="connsiteX9" fmla="*/ 316194 w 602869"/>
                <a:gd name="connsiteY9" fmla="*/ 0 h 611158"/>
                <a:gd name="connsiteX10" fmla="*/ 0 w 602869"/>
                <a:gd name="connsiteY10" fmla="*/ 0 h 611158"/>
                <a:gd name="connsiteX11" fmla="*/ 0 w 602869"/>
                <a:gd name="connsiteY11" fmla="*/ 611158 h 611158"/>
                <a:gd name="connsiteX12" fmla="*/ 184234 w 602869"/>
                <a:gd name="connsiteY12" fmla="*/ 611158 h 611158"/>
                <a:gd name="connsiteX13" fmla="*/ 184234 w 602869"/>
                <a:gd name="connsiteY13" fmla="*/ 411729 h 611158"/>
                <a:gd name="connsiteX14" fmla="*/ 311759 w 602869"/>
                <a:gd name="connsiteY14" fmla="*/ 411729 h 611158"/>
                <a:gd name="connsiteX15" fmla="*/ 505081 w 602869"/>
                <a:gd name="connsiteY15" fmla="*/ 372468 h 611158"/>
                <a:gd name="connsiteX16" fmla="*/ 602870 w 602869"/>
                <a:gd name="connsiteY16" fmla="*/ 192814 h 611158"/>
                <a:gd name="connsiteX17" fmla="*/ 506318 w 602869"/>
                <a:gd name="connsiteY17" fmla="*/ 36134 h 6111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602869" h="611158">
                  <a:moveTo>
                    <a:pt x="413546" y="202992"/>
                  </a:moveTo>
                  <a:cubicBezTo>
                    <a:pt x="413546" y="247561"/>
                    <a:pt x="389481" y="269808"/>
                    <a:pt x="364034" y="281587"/>
                  </a:cubicBezTo>
                  <a:cubicBezTo>
                    <a:pt x="340405" y="292492"/>
                    <a:pt x="305870" y="296637"/>
                    <a:pt x="274679" y="296637"/>
                  </a:cubicBezTo>
                  <a:lnTo>
                    <a:pt x="184234" y="296637"/>
                  </a:lnTo>
                  <a:lnTo>
                    <a:pt x="184234" y="114947"/>
                  </a:lnTo>
                  <a:lnTo>
                    <a:pt x="274679" y="114947"/>
                  </a:lnTo>
                  <a:cubicBezTo>
                    <a:pt x="305870" y="114947"/>
                    <a:pt x="340405" y="116401"/>
                    <a:pt x="364034" y="127234"/>
                  </a:cubicBezTo>
                  <a:cubicBezTo>
                    <a:pt x="389481" y="139012"/>
                    <a:pt x="413546" y="158570"/>
                    <a:pt x="413546" y="202992"/>
                  </a:cubicBezTo>
                  <a:close/>
                  <a:moveTo>
                    <a:pt x="506318" y="36134"/>
                  </a:moveTo>
                  <a:cubicBezTo>
                    <a:pt x="455933" y="7634"/>
                    <a:pt x="390498" y="0"/>
                    <a:pt x="316194" y="0"/>
                  </a:cubicBezTo>
                  <a:lnTo>
                    <a:pt x="0" y="0"/>
                  </a:lnTo>
                  <a:lnTo>
                    <a:pt x="0" y="611158"/>
                  </a:lnTo>
                  <a:lnTo>
                    <a:pt x="184234" y="611158"/>
                  </a:lnTo>
                  <a:lnTo>
                    <a:pt x="184234" y="411729"/>
                  </a:lnTo>
                  <a:lnTo>
                    <a:pt x="311759" y="411729"/>
                  </a:lnTo>
                  <a:cubicBezTo>
                    <a:pt x="383446" y="411729"/>
                    <a:pt x="450916" y="403149"/>
                    <a:pt x="505081" y="372468"/>
                  </a:cubicBezTo>
                  <a:cubicBezTo>
                    <a:pt x="568917" y="336261"/>
                    <a:pt x="602870" y="279551"/>
                    <a:pt x="602870" y="192814"/>
                  </a:cubicBezTo>
                  <a:cubicBezTo>
                    <a:pt x="602870" y="116837"/>
                    <a:pt x="570371" y="72414"/>
                    <a:pt x="506318" y="36134"/>
                  </a:cubicBezTo>
                </a:path>
              </a:pathLst>
            </a:custGeom>
            <a:solidFill>
              <a:srgbClr val="FFFFFF"/>
            </a:solidFill>
            <a:ln w="119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19" name="Slide Number">
            <a:extLst>
              <a:ext uri="{FF2B5EF4-FFF2-40B4-BE49-F238E27FC236}">
                <a16:creationId xmlns:a16="http://schemas.microsoft.com/office/drawing/2014/main" id="{E40E3804-49C2-4035-9718-16FC33495441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750644" y="6679868"/>
            <a:ext cx="325501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ct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8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ct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8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3137779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220E9A7C-FB74-480B-8212-8CE5C1AF5D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390350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592" imgH="591" progId="TCLayout.ActiveDocument.1">
                  <p:embed/>
                </p:oleObj>
              </mc:Choice>
              <mc:Fallback>
                <p:oleObj name="think-cell Slide" r:id="rId6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220E9A7C-FB74-480B-8212-8CE5C1AF5D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extBox 12">
            <a:extLst>
              <a:ext uri="{FF2B5EF4-FFF2-40B4-BE49-F238E27FC236}">
                <a16:creationId xmlns:a16="http://schemas.microsoft.com/office/drawing/2014/main" id="{D3942BC5-5B72-4A7F-AEE3-F52C0F3548B0}"/>
              </a:ext>
            </a:extLst>
          </p:cNvPr>
          <p:cNvSpPr txBox="1"/>
          <p:nvPr userDrawn="1"/>
        </p:nvSpPr>
        <p:spPr>
          <a:xfrm>
            <a:off x="3252274" y="6679868"/>
            <a:ext cx="5687454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US" sz="800">
                <a:solidFill>
                  <a:srgbClr val="000000">
                    <a:lumMod val="65000"/>
                    <a:lumOff val="35000"/>
                  </a:srgbClr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©2021 Georgia-Pacific LLC. Confidential and Proprietary Information. Do not distribute or copy without prior consent. All rights reserved</a:t>
            </a: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AE1B8A8A-052A-440F-B54A-6B4C21A56925}"/>
              </a:ext>
            </a:extLst>
          </p:cNvPr>
          <p:cNvGrpSpPr/>
          <p:nvPr userDrawn="1"/>
        </p:nvGrpSpPr>
        <p:grpSpPr bwMode="ltGray">
          <a:xfrm>
            <a:off x="1" y="6482495"/>
            <a:ext cx="11634787" cy="176931"/>
            <a:chOff x="1" y="6482495"/>
            <a:chExt cx="11634787" cy="176931"/>
          </a:xfrm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39F29E29-233F-45F0-B83C-9F37180ADCEE}"/>
                </a:ext>
              </a:extLst>
            </p:cNvPr>
            <p:cNvSpPr/>
            <p:nvPr userDrawn="1"/>
          </p:nvSpPr>
          <p:spPr bwMode="ltGray">
            <a:xfrm>
              <a:off x="2391190" y="6482495"/>
              <a:ext cx="9243598" cy="176931"/>
            </a:xfrm>
            <a:prstGeom prst="rect">
              <a:avLst/>
            </a:prstGeom>
            <a:gradFill flip="none" rotWithShape="1">
              <a:gsLst>
                <a:gs pos="0">
                  <a:schemeClr val="accent2"/>
                </a:gs>
                <a:gs pos="100000">
                  <a:schemeClr val="bg1"/>
                </a:gs>
              </a:gsLst>
              <a:lin ang="10800000" scaled="1"/>
              <a:tileRect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buClr>
                  <a:schemeClr val="bg2"/>
                </a:buClr>
              </a:pPr>
              <a:endParaRPr lang="en-US" sz="1600"/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5EEA5102-5FA5-4A09-8342-5AE61DD7B489}"/>
                </a:ext>
              </a:extLst>
            </p:cNvPr>
            <p:cNvSpPr/>
            <p:nvPr userDrawn="1"/>
          </p:nvSpPr>
          <p:spPr bwMode="ltGray">
            <a:xfrm>
              <a:off x="1" y="6482495"/>
              <a:ext cx="11604090" cy="152400"/>
            </a:xfrm>
            <a:prstGeom prst="rect">
              <a:avLst/>
            </a:prstGeom>
            <a:solidFill>
              <a:schemeClr val="accent1">
                <a:lumMod val="50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>
                <a:solidFill>
                  <a:schemeClr val="bg1"/>
                </a:solidFill>
              </a:endParaRPr>
            </a:p>
          </p:txBody>
        </p:sp>
      </p:grp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09F9A864-CDB7-4063-BBF8-591908AA18D0}"/>
              </a:ext>
            </a:extLst>
          </p:cNvPr>
          <p:cNvSpPr txBox="1"/>
          <p:nvPr userDrawn="1">
            <p:custDataLst>
              <p:tags r:id="rId2"/>
            </p:custDataLst>
          </p:nvPr>
        </p:nvSpPr>
        <p:spPr>
          <a:xfrm>
            <a:off x="1501840" y="6331418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Source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BD5E1493-E8EF-4031-B447-85DA0B41811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3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63989923-E7B6-42D8-A727-A26B90776013}"/>
              </a:ext>
            </a:extLst>
          </p:cNvPr>
          <p:cNvGrpSpPr/>
          <p:nvPr userDrawn="1"/>
        </p:nvGrpSpPr>
        <p:grpSpPr bwMode="ltGray">
          <a:xfrm>
            <a:off x="547365" y="6116479"/>
            <a:ext cx="1026382" cy="616486"/>
            <a:chOff x="17864" y="-3048674"/>
            <a:chExt cx="2768679" cy="1662981"/>
          </a:xfrm>
        </p:grpSpPr>
        <p:sp>
          <p:nvSpPr>
            <p:cNvPr id="10" name="Freeform: Shape 9">
              <a:extLst>
                <a:ext uri="{FF2B5EF4-FFF2-40B4-BE49-F238E27FC236}">
                  <a16:creationId xmlns:a16="http://schemas.microsoft.com/office/drawing/2014/main" id="{B4503AD6-993C-4FB5-AC55-6C6BB7219704}"/>
                </a:ext>
              </a:extLst>
            </p:cNvPr>
            <p:cNvSpPr/>
            <p:nvPr/>
          </p:nvSpPr>
          <p:spPr bwMode="ltGray">
            <a:xfrm>
              <a:off x="17864" y="-3048674"/>
              <a:ext cx="2768679" cy="1662981"/>
            </a:xfrm>
            <a:custGeom>
              <a:avLst/>
              <a:gdLst>
                <a:gd name="connsiteX0" fmla="*/ 1384449 w 2768679"/>
                <a:gd name="connsiteY0" fmla="*/ 0 h 1662981"/>
                <a:gd name="connsiteX1" fmla="*/ 2768680 w 2768679"/>
                <a:gd name="connsiteY1" fmla="*/ 1397245 h 1662981"/>
                <a:gd name="connsiteX2" fmla="*/ 1655784 w 2768679"/>
                <a:gd name="connsiteY2" fmla="*/ 1397245 h 1662981"/>
                <a:gd name="connsiteX3" fmla="*/ 1534512 w 2768679"/>
                <a:gd name="connsiteY3" fmla="*/ 1420511 h 1662981"/>
                <a:gd name="connsiteX4" fmla="*/ 1458826 w 2768679"/>
                <a:gd name="connsiteY4" fmla="*/ 1511246 h 1662981"/>
                <a:gd name="connsiteX5" fmla="*/ 1384449 w 2768679"/>
                <a:gd name="connsiteY5" fmla="*/ 1662982 h 1662981"/>
                <a:gd name="connsiteX6" fmla="*/ 1309926 w 2768679"/>
                <a:gd name="connsiteY6" fmla="*/ 1511246 h 1662981"/>
                <a:gd name="connsiteX7" fmla="*/ 1234240 w 2768679"/>
                <a:gd name="connsiteY7" fmla="*/ 1420511 h 1662981"/>
                <a:gd name="connsiteX8" fmla="*/ 1112968 w 2768679"/>
                <a:gd name="connsiteY8" fmla="*/ 1397245 h 1662981"/>
                <a:gd name="connsiteX9" fmla="*/ 0 w 2768679"/>
                <a:gd name="connsiteY9" fmla="*/ 1397245 h 1662981"/>
                <a:gd name="connsiteX10" fmla="*/ 1384449 w 2768679"/>
                <a:gd name="connsiteY10" fmla="*/ 0 h 16629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768679" h="1662981">
                  <a:moveTo>
                    <a:pt x="1384449" y="0"/>
                  </a:moveTo>
                  <a:lnTo>
                    <a:pt x="2768680" y="1397245"/>
                  </a:lnTo>
                  <a:cubicBezTo>
                    <a:pt x="2768680" y="1397245"/>
                    <a:pt x="1656147" y="1397245"/>
                    <a:pt x="1655784" y="1397245"/>
                  </a:cubicBezTo>
                  <a:cubicBezTo>
                    <a:pt x="1601328" y="1397245"/>
                    <a:pt x="1567011" y="1402625"/>
                    <a:pt x="1534512" y="1420511"/>
                  </a:cubicBezTo>
                  <a:cubicBezTo>
                    <a:pt x="1497142" y="1441086"/>
                    <a:pt x="1479692" y="1468423"/>
                    <a:pt x="1458826" y="1511246"/>
                  </a:cubicBezTo>
                  <a:cubicBezTo>
                    <a:pt x="1458899" y="1511319"/>
                    <a:pt x="1384449" y="1662982"/>
                    <a:pt x="1384449" y="1662982"/>
                  </a:cubicBezTo>
                  <a:cubicBezTo>
                    <a:pt x="1384449" y="1662982"/>
                    <a:pt x="1309854" y="1511319"/>
                    <a:pt x="1309926" y="1511246"/>
                  </a:cubicBezTo>
                  <a:cubicBezTo>
                    <a:pt x="1289060" y="1468423"/>
                    <a:pt x="1271611" y="1441086"/>
                    <a:pt x="1234240" y="1420511"/>
                  </a:cubicBezTo>
                  <a:cubicBezTo>
                    <a:pt x="1201741" y="1402625"/>
                    <a:pt x="1167424" y="1397245"/>
                    <a:pt x="1112968" y="1397245"/>
                  </a:cubicBezTo>
                  <a:cubicBezTo>
                    <a:pt x="1112605" y="1397245"/>
                    <a:pt x="0" y="1397245"/>
                    <a:pt x="0" y="1397245"/>
                  </a:cubicBezTo>
                  <a:lnTo>
                    <a:pt x="1384449" y="0"/>
                  </a:lnTo>
                </a:path>
              </a:pathLst>
            </a:custGeom>
            <a:solidFill>
              <a:srgbClr val="0E5D9D"/>
            </a:solidFill>
            <a:ln w="119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A258F226-C596-4875-8C6A-C243020FDC37}"/>
                </a:ext>
              </a:extLst>
            </p:cNvPr>
            <p:cNvSpPr/>
            <p:nvPr/>
          </p:nvSpPr>
          <p:spPr bwMode="ltGray">
            <a:xfrm>
              <a:off x="688858" y="-2386985"/>
              <a:ext cx="673102" cy="637477"/>
            </a:xfrm>
            <a:custGeom>
              <a:avLst/>
              <a:gdLst>
                <a:gd name="connsiteX0" fmla="*/ 673103 w 673102"/>
                <a:gd name="connsiteY0" fmla="*/ 589710 h 637477"/>
                <a:gd name="connsiteX1" fmla="*/ 388390 w 673102"/>
                <a:gd name="connsiteY1" fmla="*/ 637478 h 637477"/>
                <a:gd name="connsiteX2" fmla="*/ 0 w 673102"/>
                <a:gd name="connsiteY2" fmla="*/ 323246 h 637477"/>
                <a:gd name="connsiteX3" fmla="*/ 394279 w 673102"/>
                <a:gd name="connsiteY3" fmla="*/ 0 h 637477"/>
                <a:gd name="connsiteX4" fmla="*/ 670486 w 673102"/>
                <a:gd name="connsiteY4" fmla="*/ 54165 h 637477"/>
                <a:gd name="connsiteX5" fmla="*/ 670486 w 673102"/>
                <a:gd name="connsiteY5" fmla="*/ 197249 h 637477"/>
                <a:gd name="connsiteX6" fmla="*/ 649910 w 673102"/>
                <a:gd name="connsiteY6" fmla="*/ 197249 h 637477"/>
                <a:gd name="connsiteX7" fmla="*/ 417108 w 673102"/>
                <a:gd name="connsiteY7" fmla="*/ 115092 h 637477"/>
                <a:gd name="connsiteX8" fmla="*/ 192014 w 673102"/>
                <a:gd name="connsiteY8" fmla="*/ 315467 h 637477"/>
                <a:gd name="connsiteX9" fmla="*/ 422707 w 673102"/>
                <a:gd name="connsiteY9" fmla="*/ 519695 h 637477"/>
                <a:gd name="connsiteX10" fmla="*/ 489014 w 673102"/>
                <a:gd name="connsiteY10" fmla="*/ 509371 h 637477"/>
                <a:gd name="connsiteX11" fmla="*/ 489014 w 673102"/>
                <a:gd name="connsiteY11" fmla="*/ 396460 h 637477"/>
                <a:gd name="connsiteX12" fmla="*/ 344185 w 673102"/>
                <a:gd name="connsiteY12" fmla="*/ 396460 h 637477"/>
                <a:gd name="connsiteX13" fmla="*/ 344185 w 673102"/>
                <a:gd name="connsiteY13" fmla="*/ 281368 h 637477"/>
                <a:gd name="connsiteX14" fmla="*/ 673103 w 673102"/>
                <a:gd name="connsiteY14" fmla="*/ 281368 h 637477"/>
                <a:gd name="connsiteX15" fmla="*/ 673103 w 673102"/>
                <a:gd name="connsiteY15" fmla="*/ 589710 h 6374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673102" h="637477">
                  <a:moveTo>
                    <a:pt x="673103" y="589710"/>
                  </a:moveTo>
                  <a:cubicBezTo>
                    <a:pt x="608032" y="611449"/>
                    <a:pt x="512061" y="637478"/>
                    <a:pt x="388390" y="637478"/>
                  </a:cubicBezTo>
                  <a:cubicBezTo>
                    <a:pt x="117927" y="637478"/>
                    <a:pt x="0" y="499483"/>
                    <a:pt x="0" y="323246"/>
                  </a:cubicBezTo>
                  <a:cubicBezTo>
                    <a:pt x="0" y="121054"/>
                    <a:pt x="160532" y="0"/>
                    <a:pt x="394279" y="0"/>
                  </a:cubicBezTo>
                  <a:cubicBezTo>
                    <a:pt x="516496" y="0"/>
                    <a:pt x="591164" y="21303"/>
                    <a:pt x="670486" y="54165"/>
                  </a:cubicBezTo>
                  <a:lnTo>
                    <a:pt x="670486" y="197249"/>
                  </a:lnTo>
                  <a:lnTo>
                    <a:pt x="649910" y="197249"/>
                  </a:lnTo>
                  <a:cubicBezTo>
                    <a:pt x="592546" y="153117"/>
                    <a:pt x="526529" y="115092"/>
                    <a:pt x="417108" y="115092"/>
                  </a:cubicBezTo>
                  <a:cubicBezTo>
                    <a:pt x="278969" y="115092"/>
                    <a:pt x="192014" y="191650"/>
                    <a:pt x="192014" y="315467"/>
                  </a:cubicBezTo>
                  <a:cubicBezTo>
                    <a:pt x="192014" y="424597"/>
                    <a:pt x="246324" y="525948"/>
                    <a:pt x="422707" y="519695"/>
                  </a:cubicBezTo>
                  <a:cubicBezTo>
                    <a:pt x="440374" y="519041"/>
                    <a:pt x="469819" y="515115"/>
                    <a:pt x="489014" y="509371"/>
                  </a:cubicBezTo>
                  <a:lnTo>
                    <a:pt x="489014" y="396460"/>
                  </a:lnTo>
                  <a:lnTo>
                    <a:pt x="344185" y="396460"/>
                  </a:lnTo>
                  <a:lnTo>
                    <a:pt x="344185" y="281368"/>
                  </a:lnTo>
                  <a:lnTo>
                    <a:pt x="673103" y="281368"/>
                  </a:lnTo>
                  <a:lnTo>
                    <a:pt x="673103" y="589710"/>
                  </a:lnTo>
                </a:path>
              </a:pathLst>
            </a:custGeom>
            <a:solidFill>
              <a:srgbClr val="FFFFFF"/>
            </a:solidFill>
            <a:ln w="119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BC5C7F6C-EA37-4C3F-BEAA-CBFC37A1529E}"/>
                </a:ext>
              </a:extLst>
            </p:cNvPr>
            <p:cNvSpPr/>
            <p:nvPr/>
          </p:nvSpPr>
          <p:spPr bwMode="ltGray">
            <a:xfrm>
              <a:off x="1449207" y="-2373753"/>
              <a:ext cx="602869" cy="611158"/>
            </a:xfrm>
            <a:custGeom>
              <a:avLst/>
              <a:gdLst>
                <a:gd name="connsiteX0" fmla="*/ 413546 w 602869"/>
                <a:gd name="connsiteY0" fmla="*/ 202992 h 611158"/>
                <a:gd name="connsiteX1" fmla="*/ 364034 w 602869"/>
                <a:gd name="connsiteY1" fmla="*/ 281587 h 611158"/>
                <a:gd name="connsiteX2" fmla="*/ 274679 w 602869"/>
                <a:gd name="connsiteY2" fmla="*/ 296637 h 611158"/>
                <a:gd name="connsiteX3" fmla="*/ 184234 w 602869"/>
                <a:gd name="connsiteY3" fmla="*/ 296637 h 611158"/>
                <a:gd name="connsiteX4" fmla="*/ 184234 w 602869"/>
                <a:gd name="connsiteY4" fmla="*/ 114947 h 611158"/>
                <a:gd name="connsiteX5" fmla="*/ 274679 w 602869"/>
                <a:gd name="connsiteY5" fmla="*/ 114947 h 611158"/>
                <a:gd name="connsiteX6" fmla="*/ 364034 w 602869"/>
                <a:gd name="connsiteY6" fmla="*/ 127234 h 611158"/>
                <a:gd name="connsiteX7" fmla="*/ 413546 w 602869"/>
                <a:gd name="connsiteY7" fmla="*/ 202992 h 611158"/>
                <a:gd name="connsiteX8" fmla="*/ 506318 w 602869"/>
                <a:gd name="connsiteY8" fmla="*/ 36134 h 611158"/>
                <a:gd name="connsiteX9" fmla="*/ 316194 w 602869"/>
                <a:gd name="connsiteY9" fmla="*/ 0 h 611158"/>
                <a:gd name="connsiteX10" fmla="*/ 0 w 602869"/>
                <a:gd name="connsiteY10" fmla="*/ 0 h 611158"/>
                <a:gd name="connsiteX11" fmla="*/ 0 w 602869"/>
                <a:gd name="connsiteY11" fmla="*/ 611158 h 611158"/>
                <a:gd name="connsiteX12" fmla="*/ 184234 w 602869"/>
                <a:gd name="connsiteY12" fmla="*/ 611158 h 611158"/>
                <a:gd name="connsiteX13" fmla="*/ 184234 w 602869"/>
                <a:gd name="connsiteY13" fmla="*/ 411729 h 611158"/>
                <a:gd name="connsiteX14" fmla="*/ 311759 w 602869"/>
                <a:gd name="connsiteY14" fmla="*/ 411729 h 611158"/>
                <a:gd name="connsiteX15" fmla="*/ 505081 w 602869"/>
                <a:gd name="connsiteY15" fmla="*/ 372468 h 611158"/>
                <a:gd name="connsiteX16" fmla="*/ 602870 w 602869"/>
                <a:gd name="connsiteY16" fmla="*/ 192814 h 611158"/>
                <a:gd name="connsiteX17" fmla="*/ 506318 w 602869"/>
                <a:gd name="connsiteY17" fmla="*/ 36134 h 6111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602869" h="611158">
                  <a:moveTo>
                    <a:pt x="413546" y="202992"/>
                  </a:moveTo>
                  <a:cubicBezTo>
                    <a:pt x="413546" y="247561"/>
                    <a:pt x="389481" y="269808"/>
                    <a:pt x="364034" y="281587"/>
                  </a:cubicBezTo>
                  <a:cubicBezTo>
                    <a:pt x="340405" y="292492"/>
                    <a:pt x="305870" y="296637"/>
                    <a:pt x="274679" y="296637"/>
                  </a:cubicBezTo>
                  <a:lnTo>
                    <a:pt x="184234" y="296637"/>
                  </a:lnTo>
                  <a:lnTo>
                    <a:pt x="184234" y="114947"/>
                  </a:lnTo>
                  <a:lnTo>
                    <a:pt x="274679" y="114947"/>
                  </a:lnTo>
                  <a:cubicBezTo>
                    <a:pt x="305870" y="114947"/>
                    <a:pt x="340405" y="116401"/>
                    <a:pt x="364034" y="127234"/>
                  </a:cubicBezTo>
                  <a:cubicBezTo>
                    <a:pt x="389481" y="139012"/>
                    <a:pt x="413546" y="158570"/>
                    <a:pt x="413546" y="202992"/>
                  </a:cubicBezTo>
                  <a:close/>
                  <a:moveTo>
                    <a:pt x="506318" y="36134"/>
                  </a:moveTo>
                  <a:cubicBezTo>
                    <a:pt x="455933" y="7634"/>
                    <a:pt x="390498" y="0"/>
                    <a:pt x="316194" y="0"/>
                  </a:cubicBezTo>
                  <a:lnTo>
                    <a:pt x="0" y="0"/>
                  </a:lnTo>
                  <a:lnTo>
                    <a:pt x="0" y="611158"/>
                  </a:lnTo>
                  <a:lnTo>
                    <a:pt x="184234" y="611158"/>
                  </a:lnTo>
                  <a:lnTo>
                    <a:pt x="184234" y="411729"/>
                  </a:lnTo>
                  <a:lnTo>
                    <a:pt x="311759" y="411729"/>
                  </a:lnTo>
                  <a:cubicBezTo>
                    <a:pt x="383446" y="411729"/>
                    <a:pt x="450916" y="403149"/>
                    <a:pt x="505081" y="372468"/>
                  </a:cubicBezTo>
                  <a:cubicBezTo>
                    <a:pt x="568917" y="336261"/>
                    <a:pt x="602870" y="279551"/>
                    <a:pt x="602870" y="192814"/>
                  </a:cubicBezTo>
                  <a:cubicBezTo>
                    <a:pt x="602870" y="116837"/>
                    <a:pt x="570371" y="72414"/>
                    <a:pt x="506318" y="36134"/>
                  </a:cubicBezTo>
                </a:path>
              </a:pathLst>
            </a:custGeom>
            <a:solidFill>
              <a:srgbClr val="FFFFFF"/>
            </a:solidFill>
            <a:ln w="119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17" name="Slide Number">
            <a:extLst>
              <a:ext uri="{FF2B5EF4-FFF2-40B4-BE49-F238E27FC236}">
                <a16:creationId xmlns:a16="http://schemas.microsoft.com/office/drawing/2014/main" id="{B1CB62A9-7D6F-4849-8BAC-F4B4EA14C9BE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750644" y="6679868"/>
            <a:ext cx="325501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ct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8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ct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8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6799837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A954CCC1-5027-4384-BFF6-B54153C697A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561634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A954CCC1-5027-4384-BFF6-B54153C697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330AE89A-7771-4A6E-A02D-893DCB66C876}"/>
              </a:ext>
            </a:extLst>
          </p:cNvPr>
          <p:cNvSpPr txBox="1"/>
          <p:nvPr userDrawn="1">
            <p:custDataLst>
              <p:tags r:id="rId2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Source: …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8C6829BF-F342-4C2D-80D4-D0ACDBF79A46}"/>
              </a:ext>
            </a:extLst>
          </p:cNvPr>
          <p:cNvGrpSpPr/>
          <p:nvPr userDrawn="1"/>
        </p:nvGrpSpPr>
        <p:grpSpPr bwMode="ltGray">
          <a:xfrm>
            <a:off x="4546600" y="2498368"/>
            <a:ext cx="3098800" cy="1861264"/>
            <a:chOff x="17864" y="-3048674"/>
            <a:chExt cx="2768679" cy="1662981"/>
          </a:xfrm>
        </p:grpSpPr>
        <p:sp>
          <p:nvSpPr>
            <p:cNvPr id="6" name="Freeform: Shape 5">
              <a:extLst>
                <a:ext uri="{FF2B5EF4-FFF2-40B4-BE49-F238E27FC236}">
                  <a16:creationId xmlns:a16="http://schemas.microsoft.com/office/drawing/2014/main" id="{789D020D-EE57-4DE2-9CC7-4B13A2F2D79E}"/>
                </a:ext>
              </a:extLst>
            </p:cNvPr>
            <p:cNvSpPr/>
            <p:nvPr/>
          </p:nvSpPr>
          <p:spPr bwMode="ltGray">
            <a:xfrm>
              <a:off x="17864" y="-3048674"/>
              <a:ext cx="2768679" cy="1662981"/>
            </a:xfrm>
            <a:custGeom>
              <a:avLst/>
              <a:gdLst>
                <a:gd name="connsiteX0" fmla="*/ 1384449 w 2768679"/>
                <a:gd name="connsiteY0" fmla="*/ 0 h 1662981"/>
                <a:gd name="connsiteX1" fmla="*/ 2768680 w 2768679"/>
                <a:gd name="connsiteY1" fmla="*/ 1397245 h 1662981"/>
                <a:gd name="connsiteX2" fmla="*/ 1655784 w 2768679"/>
                <a:gd name="connsiteY2" fmla="*/ 1397245 h 1662981"/>
                <a:gd name="connsiteX3" fmla="*/ 1534512 w 2768679"/>
                <a:gd name="connsiteY3" fmla="*/ 1420511 h 1662981"/>
                <a:gd name="connsiteX4" fmla="*/ 1458826 w 2768679"/>
                <a:gd name="connsiteY4" fmla="*/ 1511246 h 1662981"/>
                <a:gd name="connsiteX5" fmla="*/ 1384449 w 2768679"/>
                <a:gd name="connsiteY5" fmla="*/ 1662982 h 1662981"/>
                <a:gd name="connsiteX6" fmla="*/ 1309926 w 2768679"/>
                <a:gd name="connsiteY6" fmla="*/ 1511246 h 1662981"/>
                <a:gd name="connsiteX7" fmla="*/ 1234240 w 2768679"/>
                <a:gd name="connsiteY7" fmla="*/ 1420511 h 1662981"/>
                <a:gd name="connsiteX8" fmla="*/ 1112968 w 2768679"/>
                <a:gd name="connsiteY8" fmla="*/ 1397245 h 1662981"/>
                <a:gd name="connsiteX9" fmla="*/ 0 w 2768679"/>
                <a:gd name="connsiteY9" fmla="*/ 1397245 h 1662981"/>
                <a:gd name="connsiteX10" fmla="*/ 1384449 w 2768679"/>
                <a:gd name="connsiteY10" fmla="*/ 0 h 16629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768679" h="1662981">
                  <a:moveTo>
                    <a:pt x="1384449" y="0"/>
                  </a:moveTo>
                  <a:lnTo>
                    <a:pt x="2768680" y="1397245"/>
                  </a:lnTo>
                  <a:cubicBezTo>
                    <a:pt x="2768680" y="1397245"/>
                    <a:pt x="1656147" y="1397245"/>
                    <a:pt x="1655784" y="1397245"/>
                  </a:cubicBezTo>
                  <a:cubicBezTo>
                    <a:pt x="1601328" y="1397245"/>
                    <a:pt x="1567011" y="1402625"/>
                    <a:pt x="1534512" y="1420511"/>
                  </a:cubicBezTo>
                  <a:cubicBezTo>
                    <a:pt x="1497142" y="1441086"/>
                    <a:pt x="1479692" y="1468423"/>
                    <a:pt x="1458826" y="1511246"/>
                  </a:cubicBezTo>
                  <a:cubicBezTo>
                    <a:pt x="1458899" y="1511319"/>
                    <a:pt x="1384449" y="1662982"/>
                    <a:pt x="1384449" y="1662982"/>
                  </a:cubicBezTo>
                  <a:cubicBezTo>
                    <a:pt x="1384449" y="1662982"/>
                    <a:pt x="1309854" y="1511319"/>
                    <a:pt x="1309926" y="1511246"/>
                  </a:cubicBezTo>
                  <a:cubicBezTo>
                    <a:pt x="1289060" y="1468423"/>
                    <a:pt x="1271611" y="1441086"/>
                    <a:pt x="1234240" y="1420511"/>
                  </a:cubicBezTo>
                  <a:cubicBezTo>
                    <a:pt x="1201741" y="1402625"/>
                    <a:pt x="1167424" y="1397245"/>
                    <a:pt x="1112968" y="1397245"/>
                  </a:cubicBezTo>
                  <a:cubicBezTo>
                    <a:pt x="1112605" y="1397245"/>
                    <a:pt x="0" y="1397245"/>
                    <a:pt x="0" y="1397245"/>
                  </a:cubicBezTo>
                  <a:lnTo>
                    <a:pt x="1384449" y="0"/>
                  </a:lnTo>
                </a:path>
              </a:pathLst>
            </a:custGeom>
            <a:solidFill>
              <a:srgbClr val="0E5D9D"/>
            </a:solidFill>
            <a:ln w="119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" name="Freeform: Shape 6">
              <a:extLst>
                <a:ext uri="{FF2B5EF4-FFF2-40B4-BE49-F238E27FC236}">
                  <a16:creationId xmlns:a16="http://schemas.microsoft.com/office/drawing/2014/main" id="{27FD84A0-8508-4BA1-96BB-443727D885A2}"/>
                </a:ext>
              </a:extLst>
            </p:cNvPr>
            <p:cNvSpPr/>
            <p:nvPr/>
          </p:nvSpPr>
          <p:spPr bwMode="ltGray">
            <a:xfrm>
              <a:off x="688858" y="-2386985"/>
              <a:ext cx="673102" cy="637477"/>
            </a:xfrm>
            <a:custGeom>
              <a:avLst/>
              <a:gdLst>
                <a:gd name="connsiteX0" fmla="*/ 673103 w 673102"/>
                <a:gd name="connsiteY0" fmla="*/ 589710 h 637477"/>
                <a:gd name="connsiteX1" fmla="*/ 388390 w 673102"/>
                <a:gd name="connsiteY1" fmla="*/ 637478 h 637477"/>
                <a:gd name="connsiteX2" fmla="*/ 0 w 673102"/>
                <a:gd name="connsiteY2" fmla="*/ 323246 h 637477"/>
                <a:gd name="connsiteX3" fmla="*/ 394279 w 673102"/>
                <a:gd name="connsiteY3" fmla="*/ 0 h 637477"/>
                <a:gd name="connsiteX4" fmla="*/ 670486 w 673102"/>
                <a:gd name="connsiteY4" fmla="*/ 54165 h 637477"/>
                <a:gd name="connsiteX5" fmla="*/ 670486 w 673102"/>
                <a:gd name="connsiteY5" fmla="*/ 197249 h 637477"/>
                <a:gd name="connsiteX6" fmla="*/ 649910 w 673102"/>
                <a:gd name="connsiteY6" fmla="*/ 197249 h 637477"/>
                <a:gd name="connsiteX7" fmla="*/ 417108 w 673102"/>
                <a:gd name="connsiteY7" fmla="*/ 115092 h 637477"/>
                <a:gd name="connsiteX8" fmla="*/ 192014 w 673102"/>
                <a:gd name="connsiteY8" fmla="*/ 315467 h 637477"/>
                <a:gd name="connsiteX9" fmla="*/ 422707 w 673102"/>
                <a:gd name="connsiteY9" fmla="*/ 519695 h 637477"/>
                <a:gd name="connsiteX10" fmla="*/ 489014 w 673102"/>
                <a:gd name="connsiteY10" fmla="*/ 509371 h 637477"/>
                <a:gd name="connsiteX11" fmla="*/ 489014 w 673102"/>
                <a:gd name="connsiteY11" fmla="*/ 396460 h 637477"/>
                <a:gd name="connsiteX12" fmla="*/ 344185 w 673102"/>
                <a:gd name="connsiteY12" fmla="*/ 396460 h 637477"/>
                <a:gd name="connsiteX13" fmla="*/ 344185 w 673102"/>
                <a:gd name="connsiteY13" fmla="*/ 281368 h 637477"/>
                <a:gd name="connsiteX14" fmla="*/ 673103 w 673102"/>
                <a:gd name="connsiteY14" fmla="*/ 281368 h 637477"/>
                <a:gd name="connsiteX15" fmla="*/ 673103 w 673102"/>
                <a:gd name="connsiteY15" fmla="*/ 589710 h 6374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673102" h="637477">
                  <a:moveTo>
                    <a:pt x="673103" y="589710"/>
                  </a:moveTo>
                  <a:cubicBezTo>
                    <a:pt x="608032" y="611449"/>
                    <a:pt x="512061" y="637478"/>
                    <a:pt x="388390" y="637478"/>
                  </a:cubicBezTo>
                  <a:cubicBezTo>
                    <a:pt x="117927" y="637478"/>
                    <a:pt x="0" y="499483"/>
                    <a:pt x="0" y="323246"/>
                  </a:cubicBezTo>
                  <a:cubicBezTo>
                    <a:pt x="0" y="121054"/>
                    <a:pt x="160532" y="0"/>
                    <a:pt x="394279" y="0"/>
                  </a:cubicBezTo>
                  <a:cubicBezTo>
                    <a:pt x="516496" y="0"/>
                    <a:pt x="591164" y="21303"/>
                    <a:pt x="670486" y="54165"/>
                  </a:cubicBezTo>
                  <a:lnTo>
                    <a:pt x="670486" y="197249"/>
                  </a:lnTo>
                  <a:lnTo>
                    <a:pt x="649910" y="197249"/>
                  </a:lnTo>
                  <a:cubicBezTo>
                    <a:pt x="592546" y="153117"/>
                    <a:pt x="526529" y="115092"/>
                    <a:pt x="417108" y="115092"/>
                  </a:cubicBezTo>
                  <a:cubicBezTo>
                    <a:pt x="278969" y="115092"/>
                    <a:pt x="192014" y="191650"/>
                    <a:pt x="192014" y="315467"/>
                  </a:cubicBezTo>
                  <a:cubicBezTo>
                    <a:pt x="192014" y="424597"/>
                    <a:pt x="246324" y="525948"/>
                    <a:pt x="422707" y="519695"/>
                  </a:cubicBezTo>
                  <a:cubicBezTo>
                    <a:pt x="440374" y="519041"/>
                    <a:pt x="469819" y="515115"/>
                    <a:pt x="489014" y="509371"/>
                  </a:cubicBezTo>
                  <a:lnTo>
                    <a:pt x="489014" y="396460"/>
                  </a:lnTo>
                  <a:lnTo>
                    <a:pt x="344185" y="396460"/>
                  </a:lnTo>
                  <a:lnTo>
                    <a:pt x="344185" y="281368"/>
                  </a:lnTo>
                  <a:lnTo>
                    <a:pt x="673103" y="281368"/>
                  </a:lnTo>
                  <a:lnTo>
                    <a:pt x="673103" y="589710"/>
                  </a:lnTo>
                </a:path>
              </a:pathLst>
            </a:custGeom>
            <a:solidFill>
              <a:srgbClr val="FFFFFF"/>
            </a:solidFill>
            <a:ln w="119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" name="Freeform: Shape 8">
              <a:extLst>
                <a:ext uri="{FF2B5EF4-FFF2-40B4-BE49-F238E27FC236}">
                  <a16:creationId xmlns:a16="http://schemas.microsoft.com/office/drawing/2014/main" id="{5C84E3DE-81FB-452D-895A-A41B8BF9CB8C}"/>
                </a:ext>
              </a:extLst>
            </p:cNvPr>
            <p:cNvSpPr/>
            <p:nvPr/>
          </p:nvSpPr>
          <p:spPr bwMode="ltGray">
            <a:xfrm>
              <a:off x="1449207" y="-2373753"/>
              <a:ext cx="602869" cy="611158"/>
            </a:xfrm>
            <a:custGeom>
              <a:avLst/>
              <a:gdLst>
                <a:gd name="connsiteX0" fmla="*/ 413546 w 602869"/>
                <a:gd name="connsiteY0" fmla="*/ 202992 h 611158"/>
                <a:gd name="connsiteX1" fmla="*/ 364034 w 602869"/>
                <a:gd name="connsiteY1" fmla="*/ 281587 h 611158"/>
                <a:gd name="connsiteX2" fmla="*/ 274679 w 602869"/>
                <a:gd name="connsiteY2" fmla="*/ 296637 h 611158"/>
                <a:gd name="connsiteX3" fmla="*/ 184234 w 602869"/>
                <a:gd name="connsiteY3" fmla="*/ 296637 h 611158"/>
                <a:gd name="connsiteX4" fmla="*/ 184234 w 602869"/>
                <a:gd name="connsiteY4" fmla="*/ 114947 h 611158"/>
                <a:gd name="connsiteX5" fmla="*/ 274679 w 602869"/>
                <a:gd name="connsiteY5" fmla="*/ 114947 h 611158"/>
                <a:gd name="connsiteX6" fmla="*/ 364034 w 602869"/>
                <a:gd name="connsiteY6" fmla="*/ 127234 h 611158"/>
                <a:gd name="connsiteX7" fmla="*/ 413546 w 602869"/>
                <a:gd name="connsiteY7" fmla="*/ 202992 h 611158"/>
                <a:gd name="connsiteX8" fmla="*/ 506318 w 602869"/>
                <a:gd name="connsiteY8" fmla="*/ 36134 h 611158"/>
                <a:gd name="connsiteX9" fmla="*/ 316194 w 602869"/>
                <a:gd name="connsiteY9" fmla="*/ 0 h 611158"/>
                <a:gd name="connsiteX10" fmla="*/ 0 w 602869"/>
                <a:gd name="connsiteY10" fmla="*/ 0 h 611158"/>
                <a:gd name="connsiteX11" fmla="*/ 0 w 602869"/>
                <a:gd name="connsiteY11" fmla="*/ 611158 h 611158"/>
                <a:gd name="connsiteX12" fmla="*/ 184234 w 602869"/>
                <a:gd name="connsiteY12" fmla="*/ 611158 h 611158"/>
                <a:gd name="connsiteX13" fmla="*/ 184234 w 602869"/>
                <a:gd name="connsiteY13" fmla="*/ 411729 h 611158"/>
                <a:gd name="connsiteX14" fmla="*/ 311759 w 602869"/>
                <a:gd name="connsiteY14" fmla="*/ 411729 h 611158"/>
                <a:gd name="connsiteX15" fmla="*/ 505081 w 602869"/>
                <a:gd name="connsiteY15" fmla="*/ 372468 h 611158"/>
                <a:gd name="connsiteX16" fmla="*/ 602870 w 602869"/>
                <a:gd name="connsiteY16" fmla="*/ 192814 h 611158"/>
                <a:gd name="connsiteX17" fmla="*/ 506318 w 602869"/>
                <a:gd name="connsiteY17" fmla="*/ 36134 h 6111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602869" h="611158">
                  <a:moveTo>
                    <a:pt x="413546" y="202992"/>
                  </a:moveTo>
                  <a:cubicBezTo>
                    <a:pt x="413546" y="247561"/>
                    <a:pt x="389481" y="269808"/>
                    <a:pt x="364034" y="281587"/>
                  </a:cubicBezTo>
                  <a:cubicBezTo>
                    <a:pt x="340405" y="292492"/>
                    <a:pt x="305870" y="296637"/>
                    <a:pt x="274679" y="296637"/>
                  </a:cubicBezTo>
                  <a:lnTo>
                    <a:pt x="184234" y="296637"/>
                  </a:lnTo>
                  <a:lnTo>
                    <a:pt x="184234" y="114947"/>
                  </a:lnTo>
                  <a:lnTo>
                    <a:pt x="274679" y="114947"/>
                  </a:lnTo>
                  <a:cubicBezTo>
                    <a:pt x="305870" y="114947"/>
                    <a:pt x="340405" y="116401"/>
                    <a:pt x="364034" y="127234"/>
                  </a:cubicBezTo>
                  <a:cubicBezTo>
                    <a:pt x="389481" y="139012"/>
                    <a:pt x="413546" y="158570"/>
                    <a:pt x="413546" y="202992"/>
                  </a:cubicBezTo>
                  <a:close/>
                  <a:moveTo>
                    <a:pt x="506318" y="36134"/>
                  </a:moveTo>
                  <a:cubicBezTo>
                    <a:pt x="455933" y="7634"/>
                    <a:pt x="390498" y="0"/>
                    <a:pt x="316194" y="0"/>
                  </a:cubicBezTo>
                  <a:lnTo>
                    <a:pt x="0" y="0"/>
                  </a:lnTo>
                  <a:lnTo>
                    <a:pt x="0" y="611158"/>
                  </a:lnTo>
                  <a:lnTo>
                    <a:pt x="184234" y="611158"/>
                  </a:lnTo>
                  <a:lnTo>
                    <a:pt x="184234" y="411729"/>
                  </a:lnTo>
                  <a:lnTo>
                    <a:pt x="311759" y="411729"/>
                  </a:lnTo>
                  <a:cubicBezTo>
                    <a:pt x="383446" y="411729"/>
                    <a:pt x="450916" y="403149"/>
                    <a:pt x="505081" y="372468"/>
                  </a:cubicBezTo>
                  <a:cubicBezTo>
                    <a:pt x="568917" y="336261"/>
                    <a:pt x="602870" y="279551"/>
                    <a:pt x="602870" y="192814"/>
                  </a:cubicBezTo>
                  <a:cubicBezTo>
                    <a:pt x="602870" y="116837"/>
                    <a:pt x="570371" y="72414"/>
                    <a:pt x="506318" y="36134"/>
                  </a:cubicBezTo>
                </a:path>
              </a:pathLst>
            </a:custGeom>
            <a:solidFill>
              <a:srgbClr val="FFFFFF"/>
            </a:solidFill>
            <a:ln w="119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2426320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261277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1725BD87-3C3D-45F6-BBCF-F06FD867659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3" name="RectangleLight">
            <a:extLst>
              <a:ext uri="{FF2B5EF4-FFF2-40B4-BE49-F238E27FC236}">
                <a16:creationId xmlns:a16="http://schemas.microsoft.com/office/drawing/2014/main" id="{072F5A74-CD05-4E1D-8EF5-1AB1867A518B}"/>
              </a:ext>
            </a:extLst>
          </p:cNvPr>
          <p:cNvSpPr>
            <a:spLocks/>
          </p:cNvSpPr>
          <p:nvPr userDrawn="1">
            <p:custDataLst>
              <p:tags r:id="rId3"/>
            </p:custDataLst>
          </p:nvPr>
        </p:nvSpPr>
        <p:spPr bwMode="ltGray">
          <a:xfrm>
            <a:off x="8778240" y="0"/>
            <a:ext cx="3413760" cy="6858000"/>
          </a:xfrm>
          <a:prstGeom prst="rect">
            <a:avLst/>
          </a:prstGeom>
          <a:solidFill>
            <a:schemeClr val="accent3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424108" y="237193"/>
            <a:ext cx="7921606" cy="731520"/>
          </a:xfr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424108" y="1050105"/>
            <a:ext cx="7921606" cy="2769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 lang="en-US" sz="1800" b="0" dirty="0"/>
            </a:lvl1pPr>
          </a:lstStyle>
          <a:p>
            <a:pPr lvl="0"/>
            <a:r>
              <a:rPr lang="en-US"/>
              <a:t>Click to edit Master subtitle style</a:t>
            </a:r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498754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E9BE4D1E-183A-499B-BFC7-798294EB7AE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424108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311145013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062447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13" imgH="416" progId="TCLayout.ActiveDocument.1">
                  <p:embed/>
                </p:oleObj>
              </mc:Choice>
              <mc:Fallback>
                <p:oleObj name="think-cell Slide" r:id="rId9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9F741700-5035-4E61-A4AC-1B3C7AE220D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82372"/>
            <a:ext cx="11082528" cy="73152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A8BAFD1A-3C11-49E6-B76E-5166760AF118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6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/>
              <a:t>Chapter › Topic</a:t>
            </a:r>
          </a:p>
        </p:txBody>
      </p:sp>
      <p:sp>
        <p:nvSpPr>
          <p:cNvPr id="12" name="3. Subtitle">
            <a:extLst>
              <a:ext uri="{FF2B5EF4-FFF2-40B4-BE49-F238E27FC236}">
                <a16:creationId xmlns:a16="http://schemas.microsoft.com/office/drawing/2014/main" id="{1EE9FF4B-7331-4DE1-A594-C0C335ED5BE5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554736" y="903861"/>
            <a:ext cx="11082528" cy="276999"/>
          </a:xfrm>
        </p:spPr>
        <p:txBody>
          <a:bodyPr anchor="ctr" anchorCtr="0"/>
          <a:lstStyle/>
          <a:p>
            <a:r>
              <a:rPr lang="en-US" sz="160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30275683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LogoText">
            <a:extLst>
              <a:ext uri="{FF2B5EF4-FFF2-40B4-BE49-F238E27FC236}">
                <a16:creationId xmlns:a16="http://schemas.microsoft.com/office/drawing/2014/main" id="{92A63429-03F1-4595-BAE1-A5F5E74A0DF2}"/>
              </a:ext>
            </a:extLst>
          </p:cNvPr>
          <p:cNvSpPr txBox="1"/>
          <p:nvPr userDrawn="1">
            <p:custDataLst>
              <p:tags r:id="rId1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982A9EE-ED1D-4D7E-84CA-3C36D0891D68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242E706C-B652-4B8D-8347-CE6D35DB7BB4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3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en-US"/>
              <a:t>Chapter › Topic</a:t>
            </a: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09F9A864-CDB7-4063-BBF8-591908AA18D0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314772144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10AAB5F-CF0A-4C58-81CA-92C1A8CB900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09741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10AAB5F-CF0A-4C58-81CA-92C1A8CB900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8DA53433-5DFE-4583-A5C0-DE3F3C3DDE8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3044280"/>
            <a:ext cx="5065776" cy="769441"/>
          </a:xfrm>
          <a:prstGeom prst="rect">
            <a:avLst/>
          </a:prstGeom>
        </p:spPr>
        <p:txBody>
          <a:bodyPr rIns="365760" anchor="ctr">
            <a:noAutofit/>
          </a:bodyPr>
          <a:lstStyle>
            <a:lvl1pPr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677DA9EB-F148-4622-AB71-9F38D348578D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1501840" y="6331418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29A5BC72-B58B-4282-B0EA-EE79CC589D7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A6B93D2B-F4A5-4725-87D5-E44A98D47327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750644" y="6679868"/>
            <a:ext cx="325501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ct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8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ct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8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9031998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EBE8274-8764-4D0E-B6DD-5CF96570704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04722C1-6A6B-4A15-8BE6-F66049EE298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362546B-D97A-454E-A250-C80FF97C783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B1C525B-44B9-44B5-A15A-C4004051A45B}" type="datetimeFigureOut">
              <a:rPr lang="en-US" smtClean="0"/>
              <a:t>1/9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03A7790-4C16-4809-9A90-CB3B643B4A6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6840D12-F670-4EA2-A883-E6B53F20FFC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5862420-0924-48BE-93CA-A2A0C0FFE19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0625672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313841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13" imgH="416" progId="TCLayout.ActiveDocument.1">
                  <p:embed/>
                </p:oleObj>
              </mc:Choice>
              <mc:Fallback>
                <p:oleObj name="think-cell Slide" r:id="rId9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FCC3A0E6-E630-4C26-B008-93BA0B5B110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72212"/>
            <a:ext cx="11082528" cy="384721"/>
          </a:xfrm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554736" y="591912"/>
            <a:ext cx="11082528" cy="2769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 lang="en-US" sz="1800" b="0" dirty="0"/>
            </a:lvl1pPr>
          </a:lstStyle>
          <a:p>
            <a:pPr lvl="0">
              <a:buNone/>
            </a:pPr>
            <a:r>
              <a:rPr lang="en-US"/>
              <a:t>Click to edit Master subtitle styl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750644" y="6679868"/>
            <a:ext cx="325501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ct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8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ct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8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1501840" y="6331418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/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362999837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167901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13" imgH="416" progId="TCLayout.ActiveDocument.1">
                  <p:embed/>
                </p:oleObj>
              </mc:Choice>
              <mc:Fallback>
                <p:oleObj name="think-cell Slide" r:id="rId9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9F741700-5035-4E61-A4AC-1B3C7AE220D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72212"/>
            <a:ext cx="11082528" cy="73152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554736" y="884725"/>
            <a:ext cx="11082528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A8BAFD1A-3C11-49E6-B76E-5166760AF118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7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30634402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5874AF67-BBA0-48F4-BB9F-5296344335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851421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592" imgH="591" progId="TCLayout.ActiveDocument.1">
                  <p:embed/>
                </p:oleObj>
              </mc:Choice>
              <mc:Fallback>
                <p:oleObj name="think-cell Slide" r:id="rId7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5874AF67-BBA0-48F4-BB9F-5296344335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C9DEB12-CA9A-4CB9-BDB5-886F8B260587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11" name="Documenttype">
            <a:extLst>
              <a:ext uri="{FF2B5EF4-FFF2-40B4-BE49-F238E27FC236}">
                <a16:creationId xmlns:a16="http://schemas.microsoft.com/office/drawing/2014/main" id="{15828E83-1A38-4079-BBBD-A0570B5821FE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3"/>
            </p:custDataLst>
          </p:nvPr>
        </p:nvSpPr>
        <p:spPr>
          <a:xfrm>
            <a:off x="554735" y="4510168"/>
            <a:ext cx="11052150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 lang="en-US" sz="1400" dirty="0"/>
            </a:lvl1pPr>
          </a:lstStyle>
          <a:p>
            <a:pPr lvl="0">
              <a:buNone/>
            </a:pPr>
            <a:r>
              <a:rPr lang="en-US"/>
              <a:t>Edit date or title/role</a:t>
            </a:r>
          </a:p>
        </p:txBody>
      </p:sp>
      <p:sp>
        <p:nvSpPr>
          <p:cNvPr id="15" name="Subtitle">
            <a:extLst>
              <a:ext uri="{FF2B5EF4-FFF2-40B4-BE49-F238E27FC236}">
                <a16:creationId xmlns:a16="http://schemas.microsoft.com/office/drawing/2014/main" id="{FB8F0DBF-6DF4-4080-8ADE-3065F84D7602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551941" y="4092559"/>
            <a:ext cx="11052150" cy="3077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 lang="en-US" sz="2000" dirty="0"/>
            </a:lvl1pPr>
          </a:lstStyle>
          <a:p>
            <a:pPr lvl="0">
              <a:buNone/>
            </a:pPr>
            <a:r>
              <a:rPr lang="en-US"/>
              <a:t>Click to edit Master subtitle style</a:t>
            </a:r>
          </a:p>
        </p:txBody>
      </p:sp>
      <p:sp>
        <p:nvSpPr>
          <p:cNvPr id="18" name="Title">
            <a:extLst>
              <a:ext uri="{FF2B5EF4-FFF2-40B4-BE49-F238E27FC236}">
                <a16:creationId xmlns:a16="http://schemas.microsoft.com/office/drawing/2014/main" id="{46FFFED1-69E7-44C0-86EC-45A8A36DB3EC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5"/>
            </p:custDataLst>
          </p:nvPr>
        </p:nvSpPr>
        <p:spPr>
          <a:xfrm>
            <a:off x="551941" y="2617296"/>
            <a:ext cx="11052150" cy="1354217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>
              <a:defRPr lang="en-US" sz="4400" dirty="0"/>
            </a:lvl1pPr>
          </a:lstStyle>
          <a:p>
            <a:pPr lvl="0"/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A4D36EBB-1582-410A-8C38-2DE28C59F373}"/>
              </a:ext>
            </a:extLst>
          </p:cNvPr>
          <p:cNvSpPr txBox="1"/>
          <p:nvPr userDrawn="1"/>
        </p:nvSpPr>
        <p:spPr>
          <a:xfrm>
            <a:off x="3252274" y="6679868"/>
            <a:ext cx="5687454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US" sz="8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©2021 Georgia-Pacific LLC. Confidential and Proprietary Information. Do not distribute or copy without prior consent. All rights reserved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694519C2-2317-4F21-A12C-0C090C93A5BC}"/>
              </a:ext>
            </a:extLst>
          </p:cNvPr>
          <p:cNvSpPr/>
          <p:nvPr userDrawn="1"/>
        </p:nvSpPr>
        <p:spPr bwMode="ltGray">
          <a:xfrm>
            <a:off x="2391190" y="6482495"/>
            <a:ext cx="9243598" cy="176931"/>
          </a:xfrm>
          <a:prstGeom prst="rect">
            <a:avLst/>
          </a:prstGeom>
          <a:gradFill flip="none" rotWithShape="1">
            <a:gsLst>
              <a:gs pos="0">
                <a:schemeClr val="accent2"/>
              </a:gs>
              <a:gs pos="100000">
                <a:schemeClr val="bg1"/>
              </a:gs>
            </a:gsLst>
            <a:lin ang="1080000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buClr>
                <a:schemeClr val="bg2"/>
              </a:buClr>
            </a:pPr>
            <a:endParaRPr lang="en-US" sz="16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3624EB53-992B-4D32-9F68-3AD473AA8E3B}"/>
              </a:ext>
            </a:extLst>
          </p:cNvPr>
          <p:cNvSpPr/>
          <p:nvPr userDrawn="1"/>
        </p:nvSpPr>
        <p:spPr bwMode="ltGray">
          <a:xfrm>
            <a:off x="1" y="6482495"/>
            <a:ext cx="11604090" cy="1524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3B8D17D0-DC4E-4262-9789-7719977F1C46}"/>
              </a:ext>
            </a:extLst>
          </p:cNvPr>
          <p:cNvGrpSpPr/>
          <p:nvPr userDrawn="1"/>
        </p:nvGrpSpPr>
        <p:grpSpPr>
          <a:xfrm>
            <a:off x="547365" y="6116479"/>
            <a:ext cx="1026382" cy="616486"/>
            <a:chOff x="547365" y="6116479"/>
            <a:chExt cx="1026382" cy="616486"/>
          </a:xfrm>
        </p:grpSpPr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75C20E6D-9B7D-4B4C-8474-DF1BE020258E}"/>
                </a:ext>
              </a:extLst>
            </p:cNvPr>
            <p:cNvSpPr/>
            <p:nvPr/>
          </p:nvSpPr>
          <p:spPr bwMode="ltGray">
            <a:xfrm>
              <a:off x="547365" y="6116479"/>
              <a:ext cx="1026382" cy="616486"/>
            </a:xfrm>
            <a:custGeom>
              <a:avLst/>
              <a:gdLst>
                <a:gd name="connsiteX0" fmla="*/ 1384449 w 2768679"/>
                <a:gd name="connsiteY0" fmla="*/ 0 h 1662981"/>
                <a:gd name="connsiteX1" fmla="*/ 2768680 w 2768679"/>
                <a:gd name="connsiteY1" fmla="*/ 1397245 h 1662981"/>
                <a:gd name="connsiteX2" fmla="*/ 1655784 w 2768679"/>
                <a:gd name="connsiteY2" fmla="*/ 1397245 h 1662981"/>
                <a:gd name="connsiteX3" fmla="*/ 1534512 w 2768679"/>
                <a:gd name="connsiteY3" fmla="*/ 1420511 h 1662981"/>
                <a:gd name="connsiteX4" fmla="*/ 1458826 w 2768679"/>
                <a:gd name="connsiteY4" fmla="*/ 1511246 h 1662981"/>
                <a:gd name="connsiteX5" fmla="*/ 1384449 w 2768679"/>
                <a:gd name="connsiteY5" fmla="*/ 1662982 h 1662981"/>
                <a:gd name="connsiteX6" fmla="*/ 1309926 w 2768679"/>
                <a:gd name="connsiteY6" fmla="*/ 1511246 h 1662981"/>
                <a:gd name="connsiteX7" fmla="*/ 1234240 w 2768679"/>
                <a:gd name="connsiteY7" fmla="*/ 1420511 h 1662981"/>
                <a:gd name="connsiteX8" fmla="*/ 1112968 w 2768679"/>
                <a:gd name="connsiteY8" fmla="*/ 1397245 h 1662981"/>
                <a:gd name="connsiteX9" fmla="*/ 0 w 2768679"/>
                <a:gd name="connsiteY9" fmla="*/ 1397245 h 1662981"/>
                <a:gd name="connsiteX10" fmla="*/ 1384449 w 2768679"/>
                <a:gd name="connsiteY10" fmla="*/ 0 h 16629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768679" h="1662981">
                  <a:moveTo>
                    <a:pt x="1384449" y="0"/>
                  </a:moveTo>
                  <a:lnTo>
                    <a:pt x="2768680" y="1397245"/>
                  </a:lnTo>
                  <a:cubicBezTo>
                    <a:pt x="2768680" y="1397245"/>
                    <a:pt x="1656147" y="1397245"/>
                    <a:pt x="1655784" y="1397245"/>
                  </a:cubicBezTo>
                  <a:cubicBezTo>
                    <a:pt x="1601328" y="1397245"/>
                    <a:pt x="1567011" y="1402625"/>
                    <a:pt x="1534512" y="1420511"/>
                  </a:cubicBezTo>
                  <a:cubicBezTo>
                    <a:pt x="1497142" y="1441086"/>
                    <a:pt x="1479692" y="1468423"/>
                    <a:pt x="1458826" y="1511246"/>
                  </a:cubicBezTo>
                  <a:cubicBezTo>
                    <a:pt x="1458899" y="1511319"/>
                    <a:pt x="1384449" y="1662982"/>
                    <a:pt x="1384449" y="1662982"/>
                  </a:cubicBezTo>
                  <a:cubicBezTo>
                    <a:pt x="1384449" y="1662982"/>
                    <a:pt x="1309854" y="1511319"/>
                    <a:pt x="1309926" y="1511246"/>
                  </a:cubicBezTo>
                  <a:cubicBezTo>
                    <a:pt x="1289060" y="1468423"/>
                    <a:pt x="1271611" y="1441086"/>
                    <a:pt x="1234240" y="1420511"/>
                  </a:cubicBezTo>
                  <a:cubicBezTo>
                    <a:pt x="1201741" y="1402625"/>
                    <a:pt x="1167424" y="1397245"/>
                    <a:pt x="1112968" y="1397245"/>
                  </a:cubicBezTo>
                  <a:cubicBezTo>
                    <a:pt x="1112605" y="1397245"/>
                    <a:pt x="0" y="1397245"/>
                    <a:pt x="0" y="1397245"/>
                  </a:cubicBezTo>
                  <a:lnTo>
                    <a:pt x="1384449" y="0"/>
                  </a:lnTo>
                </a:path>
              </a:pathLst>
            </a:custGeom>
            <a:solidFill>
              <a:schemeClr val="tx1"/>
            </a:solidFill>
            <a:ln w="119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0E602452-40AF-4146-BBD2-D3D0DFD0BF6B}"/>
                </a:ext>
              </a:extLst>
            </p:cNvPr>
            <p:cNvSpPr/>
            <p:nvPr/>
          </p:nvSpPr>
          <p:spPr bwMode="ltGray">
            <a:xfrm>
              <a:off x="796110" y="6361775"/>
              <a:ext cx="249527" cy="236320"/>
            </a:xfrm>
            <a:custGeom>
              <a:avLst/>
              <a:gdLst>
                <a:gd name="connsiteX0" fmla="*/ 673103 w 673102"/>
                <a:gd name="connsiteY0" fmla="*/ 589710 h 637477"/>
                <a:gd name="connsiteX1" fmla="*/ 388390 w 673102"/>
                <a:gd name="connsiteY1" fmla="*/ 637478 h 637477"/>
                <a:gd name="connsiteX2" fmla="*/ 0 w 673102"/>
                <a:gd name="connsiteY2" fmla="*/ 323246 h 637477"/>
                <a:gd name="connsiteX3" fmla="*/ 394279 w 673102"/>
                <a:gd name="connsiteY3" fmla="*/ 0 h 637477"/>
                <a:gd name="connsiteX4" fmla="*/ 670486 w 673102"/>
                <a:gd name="connsiteY4" fmla="*/ 54165 h 637477"/>
                <a:gd name="connsiteX5" fmla="*/ 670486 w 673102"/>
                <a:gd name="connsiteY5" fmla="*/ 197249 h 637477"/>
                <a:gd name="connsiteX6" fmla="*/ 649910 w 673102"/>
                <a:gd name="connsiteY6" fmla="*/ 197249 h 637477"/>
                <a:gd name="connsiteX7" fmla="*/ 417108 w 673102"/>
                <a:gd name="connsiteY7" fmla="*/ 115092 h 637477"/>
                <a:gd name="connsiteX8" fmla="*/ 192014 w 673102"/>
                <a:gd name="connsiteY8" fmla="*/ 315467 h 637477"/>
                <a:gd name="connsiteX9" fmla="*/ 422707 w 673102"/>
                <a:gd name="connsiteY9" fmla="*/ 519695 h 637477"/>
                <a:gd name="connsiteX10" fmla="*/ 489014 w 673102"/>
                <a:gd name="connsiteY10" fmla="*/ 509371 h 637477"/>
                <a:gd name="connsiteX11" fmla="*/ 489014 w 673102"/>
                <a:gd name="connsiteY11" fmla="*/ 396460 h 637477"/>
                <a:gd name="connsiteX12" fmla="*/ 344185 w 673102"/>
                <a:gd name="connsiteY12" fmla="*/ 396460 h 637477"/>
                <a:gd name="connsiteX13" fmla="*/ 344185 w 673102"/>
                <a:gd name="connsiteY13" fmla="*/ 281368 h 637477"/>
                <a:gd name="connsiteX14" fmla="*/ 673103 w 673102"/>
                <a:gd name="connsiteY14" fmla="*/ 281368 h 637477"/>
                <a:gd name="connsiteX15" fmla="*/ 673103 w 673102"/>
                <a:gd name="connsiteY15" fmla="*/ 589710 h 6374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673102" h="637477">
                  <a:moveTo>
                    <a:pt x="673103" y="589710"/>
                  </a:moveTo>
                  <a:cubicBezTo>
                    <a:pt x="608032" y="611449"/>
                    <a:pt x="512061" y="637478"/>
                    <a:pt x="388390" y="637478"/>
                  </a:cubicBezTo>
                  <a:cubicBezTo>
                    <a:pt x="117927" y="637478"/>
                    <a:pt x="0" y="499483"/>
                    <a:pt x="0" y="323246"/>
                  </a:cubicBezTo>
                  <a:cubicBezTo>
                    <a:pt x="0" y="121054"/>
                    <a:pt x="160532" y="0"/>
                    <a:pt x="394279" y="0"/>
                  </a:cubicBezTo>
                  <a:cubicBezTo>
                    <a:pt x="516496" y="0"/>
                    <a:pt x="591164" y="21303"/>
                    <a:pt x="670486" y="54165"/>
                  </a:cubicBezTo>
                  <a:lnTo>
                    <a:pt x="670486" y="197249"/>
                  </a:lnTo>
                  <a:lnTo>
                    <a:pt x="649910" y="197249"/>
                  </a:lnTo>
                  <a:cubicBezTo>
                    <a:pt x="592546" y="153117"/>
                    <a:pt x="526529" y="115092"/>
                    <a:pt x="417108" y="115092"/>
                  </a:cubicBezTo>
                  <a:cubicBezTo>
                    <a:pt x="278969" y="115092"/>
                    <a:pt x="192014" y="191650"/>
                    <a:pt x="192014" y="315467"/>
                  </a:cubicBezTo>
                  <a:cubicBezTo>
                    <a:pt x="192014" y="424597"/>
                    <a:pt x="246324" y="525948"/>
                    <a:pt x="422707" y="519695"/>
                  </a:cubicBezTo>
                  <a:cubicBezTo>
                    <a:pt x="440374" y="519041"/>
                    <a:pt x="469819" y="515115"/>
                    <a:pt x="489014" y="509371"/>
                  </a:cubicBezTo>
                  <a:lnTo>
                    <a:pt x="489014" y="396460"/>
                  </a:lnTo>
                  <a:lnTo>
                    <a:pt x="344185" y="396460"/>
                  </a:lnTo>
                  <a:lnTo>
                    <a:pt x="344185" y="281368"/>
                  </a:lnTo>
                  <a:lnTo>
                    <a:pt x="673103" y="281368"/>
                  </a:lnTo>
                  <a:lnTo>
                    <a:pt x="673103" y="589710"/>
                  </a:lnTo>
                </a:path>
              </a:pathLst>
            </a:custGeom>
            <a:solidFill>
              <a:schemeClr val="bg1"/>
            </a:solidFill>
            <a:ln w="119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D6E9F051-B411-4DBB-A1B5-EC5AE457F0E4}"/>
                </a:ext>
              </a:extLst>
            </p:cNvPr>
            <p:cNvSpPr/>
            <p:nvPr/>
          </p:nvSpPr>
          <p:spPr bwMode="ltGray">
            <a:xfrm>
              <a:off x="1077981" y="6366680"/>
              <a:ext cx="223491" cy="226563"/>
            </a:xfrm>
            <a:custGeom>
              <a:avLst/>
              <a:gdLst>
                <a:gd name="connsiteX0" fmla="*/ 413546 w 602869"/>
                <a:gd name="connsiteY0" fmla="*/ 202992 h 611158"/>
                <a:gd name="connsiteX1" fmla="*/ 364034 w 602869"/>
                <a:gd name="connsiteY1" fmla="*/ 281587 h 611158"/>
                <a:gd name="connsiteX2" fmla="*/ 274679 w 602869"/>
                <a:gd name="connsiteY2" fmla="*/ 296637 h 611158"/>
                <a:gd name="connsiteX3" fmla="*/ 184234 w 602869"/>
                <a:gd name="connsiteY3" fmla="*/ 296637 h 611158"/>
                <a:gd name="connsiteX4" fmla="*/ 184234 w 602869"/>
                <a:gd name="connsiteY4" fmla="*/ 114947 h 611158"/>
                <a:gd name="connsiteX5" fmla="*/ 274679 w 602869"/>
                <a:gd name="connsiteY5" fmla="*/ 114947 h 611158"/>
                <a:gd name="connsiteX6" fmla="*/ 364034 w 602869"/>
                <a:gd name="connsiteY6" fmla="*/ 127234 h 611158"/>
                <a:gd name="connsiteX7" fmla="*/ 413546 w 602869"/>
                <a:gd name="connsiteY7" fmla="*/ 202992 h 611158"/>
                <a:gd name="connsiteX8" fmla="*/ 506318 w 602869"/>
                <a:gd name="connsiteY8" fmla="*/ 36134 h 611158"/>
                <a:gd name="connsiteX9" fmla="*/ 316194 w 602869"/>
                <a:gd name="connsiteY9" fmla="*/ 0 h 611158"/>
                <a:gd name="connsiteX10" fmla="*/ 0 w 602869"/>
                <a:gd name="connsiteY10" fmla="*/ 0 h 611158"/>
                <a:gd name="connsiteX11" fmla="*/ 0 w 602869"/>
                <a:gd name="connsiteY11" fmla="*/ 611158 h 611158"/>
                <a:gd name="connsiteX12" fmla="*/ 184234 w 602869"/>
                <a:gd name="connsiteY12" fmla="*/ 611158 h 611158"/>
                <a:gd name="connsiteX13" fmla="*/ 184234 w 602869"/>
                <a:gd name="connsiteY13" fmla="*/ 411729 h 611158"/>
                <a:gd name="connsiteX14" fmla="*/ 311759 w 602869"/>
                <a:gd name="connsiteY14" fmla="*/ 411729 h 611158"/>
                <a:gd name="connsiteX15" fmla="*/ 505081 w 602869"/>
                <a:gd name="connsiteY15" fmla="*/ 372468 h 611158"/>
                <a:gd name="connsiteX16" fmla="*/ 602870 w 602869"/>
                <a:gd name="connsiteY16" fmla="*/ 192814 h 611158"/>
                <a:gd name="connsiteX17" fmla="*/ 506318 w 602869"/>
                <a:gd name="connsiteY17" fmla="*/ 36134 h 6111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602869" h="611158">
                  <a:moveTo>
                    <a:pt x="413546" y="202992"/>
                  </a:moveTo>
                  <a:cubicBezTo>
                    <a:pt x="413546" y="247561"/>
                    <a:pt x="389481" y="269808"/>
                    <a:pt x="364034" y="281587"/>
                  </a:cubicBezTo>
                  <a:cubicBezTo>
                    <a:pt x="340405" y="292492"/>
                    <a:pt x="305870" y="296637"/>
                    <a:pt x="274679" y="296637"/>
                  </a:cubicBezTo>
                  <a:lnTo>
                    <a:pt x="184234" y="296637"/>
                  </a:lnTo>
                  <a:lnTo>
                    <a:pt x="184234" y="114947"/>
                  </a:lnTo>
                  <a:lnTo>
                    <a:pt x="274679" y="114947"/>
                  </a:lnTo>
                  <a:cubicBezTo>
                    <a:pt x="305870" y="114947"/>
                    <a:pt x="340405" y="116401"/>
                    <a:pt x="364034" y="127234"/>
                  </a:cubicBezTo>
                  <a:cubicBezTo>
                    <a:pt x="389481" y="139012"/>
                    <a:pt x="413546" y="158570"/>
                    <a:pt x="413546" y="202992"/>
                  </a:cubicBezTo>
                  <a:close/>
                  <a:moveTo>
                    <a:pt x="506318" y="36134"/>
                  </a:moveTo>
                  <a:cubicBezTo>
                    <a:pt x="455933" y="7634"/>
                    <a:pt x="390498" y="0"/>
                    <a:pt x="316194" y="0"/>
                  </a:cubicBezTo>
                  <a:lnTo>
                    <a:pt x="0" y="0"/>
                  </a:lnTo>
                  <a:lnTo>
                    <a:pt x="0" y="611158"/>
                  </a:lnTo>
                  <a:lnTo>
                    <a:pt x="184234" y="611158"/>
                  </a:lnTo>
                  <a:lnTo>
                    <a:pt x="184234" y="411729"/>
                  </a:lnTo>
                  <a:lnTo>
                    <a:pt x="311759" y="411729"/>
                  </a:lnTo>
                  <a:cubicBezTo>
                    <a:pt x="383446" y="411729"/>
                    <a:pt x="450916" y="403149"/>
                    <a:pt x="505081" y="372468"/>
                  </a:cubicBezTo>
                  <a:cubicBezTo>
                    <a:pt x="568917" y="336261"/>
                    <a:pt x="602870" y="279551"/>
                    <a:pt x="602870" y="192814"/>
                  </a:cubicBezTo>
                  <a:cubicBezTo>
                    <a:pt x="602870" y="116837"/>
                    <a:pt x="570371" y="72414"/>
                    <a:pt x="506318" y="36134"/>
                  </a:cubicBezTo>
                </a:path>
              </a:pathLst>
            </a:custGeom>
            <a:solidFill>
              <a:schemeClr val="bg1"/>
            </a:solidFill>
            <a:ln w="119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49179077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3B562A0-3D6C-45D0-9E85-8A28A804D0F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713400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592" imgH="591" progId="TCLayout.ActiveDocument.1">
                  <p:embed/>
                </p:oleObj>
              </mc:Choice>
              <mc:Fallback>
                <p:oleObj name="think-cell Slide" r:id="rId7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33B562A0-3D6C-45D0-9E85-8A28A804D0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C42428D-965F-410A-AAB0-2F4E028AF07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16" name="Documenttype">
            <a:extLst>
              <a:ext uri="{FF2B5EF4-FFF2-40B4-BE49-F238E27FC236}">
                <a16:creationId xmlns:a16="http://schemas.microsoft.com/office/drawing/2014/main" id="{0CADA7EB-5C2E-4AD4-A32E-534A28817C8A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3"/>
            </p:custDataLst>
          </p:nvPr>
        </p:nvSpPr>
        <p:spPr>
          <a:xfrm>
            <a:off x="550800" y="4510168"/>
            <a:ext cx="11052150" cy="215444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1400" dirty="0"/>
            </a:lvl1pPr>
          </a:lstStyle>
          <a:p>
            <a:pPr lvl="0">
              <a:buNone/>
            </a:pPr>
            <a:r>
              <a:rPr lang="en-US"/>
              <a:t>Edit date or title/role</a:t>
            </a:r>
          </a:p>
        </p:txBody>
      </p:sp>
      <p:sp>
        <p:nvSpPr>
          <p:cNvPr id="18" name="Subtitle">
            <a:extLst>
              <a:ext uri="{FF2B5EF4-FFF2-40B4-BE49-F238E27FC236}">
                <a16:creationId xmlns:a16="http://schemas.microsoft.com/office/drawing/2014/main" id="{C85A1636-E33D-4640-A4BA-89E2008C1ED4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551941" y="4092559"/>
            <a:ext cx="11052150" cy="30777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2000" dirty="0"/>
            </a:lvl1pPr>
          </a:lstStyle>
          <a:p>
            <a:pPr lvl="0">
              <a:buNone/>
            </a:pPr>
            <a:r>
              <a:rPr lang="en-US"/>
              <a:t>Click to edit Master subtitle style</a:t>
            </a:r>
          </a:p>
        </p:txBody>
      </p:sp>
      <p:sp>
        <p:nvSpPr>
          <p:cNvPr id="20" name="Title">
            <a:extLst>
              <a:ext uri="{FF2B5EF4-FFF2-40B4-BE49-F238E27FC236}">
                <a16:creationId xmlns:a16="http://schemas.microsoft.com/office/drawing/2014/main" id="{AA4E4E19-7239-46DA-AE24-CE9556C9BE7D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5"/>
            </p:custDataLst>
          </p:nvPr>
        </p:nvSpPr>
        <p:spPr>
          <a:xfrm>
            <a:off x="551941" y="2617296"/>
            <a:ext cx="11052150" cy="135421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lvl1pPr>
              <a:defRPr lang="en-US" sz="4400" dirty="0"/>
            </a:lvl1pPr>
          </a:lstStyle>
          <a:p>
            <a:pPr lvl="0"/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7C3BB88D-56AB-44C1-B3F6-80A42AFAF155}"/>
              </a:ext>
            </a:extLst>
          </p:cNvPr>
          <p:cNvSpPr txBox="1"/>
          <p:nvPr userDrawn="1"/>
        </p:nvSpPr>
        <p:spPr>
          <a:xfrm>
            <a:off x="3252274" y="6679868"/>
            <a:ext cx="5687454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US" sz="800">
                <a:solidFill>
                  <a:srgbClr val="000000">
                    <a:lumMod val="65000"/>
                    <a:lumOff val="35000"/>
                  </a:srgbClr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©2021 Georgia-Pacific LLC. Confidential and Proprietary Information. Do not distribute or copy without prior consent. All rights reserved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7C3861B5-3C6C-4545-8BDA-FEE76619F7D7}"/>
              </a:ext>
            </a:extLst>
          </p:cNvPr>
          <p:cNvGrpSpPr/>
          <p:nvPr userDrawn="1"/>
        </p:nvGrpSpPr>
        <p:grpSpPr bwMode="ltGray">
          <a:xfrm>
            <a:off x="1" y="6482495"/>
            <a:ext cx="11634787" cy="176931"/>
            <a:chOff x="1" y="6482495"/>
            <a:chExt cx="11634787" cy="176931"/>
          </a:xfrm>
        </p:grpSpPr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E571673C-8317-4ABE-A91C-ACB1E14AA2AA}"/>
                </a:ext>
              </a:extLst>
            </p:cNvPr>
            <p:cNvSpPr/>
            <p:nvPr userDrawn="1"/>
          </p:nvSpPr>
          <p:spPr bwMode="ltGray">
            <a:xfrm>
              <a:off x="2391190" y="6482495"/>
              <a:ext cx="9243598" cy="176931"/>
            </a:xfrm>
            <a:prstGeom prst="rect">
              <a:avLst/>
            </a:prstGeom>
            <a:gradFill flip="none" rotWithShape="1">
              <a:gsLst>
                <a:gs pos="0">
                  <a:schemeClr val="accent2"/>
                </a:gs>
                <a:gs pos="100000">
                  <a:schemeClr val="bg1"/>
                </a:gs>
              </a:gsLst>
              <a:lin ang="10800000" scaled="1"/>
              <a:tileRect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buClr>
                  <a:schemeClr val="bg2"/>
                </a:buClr>
              </a:pPr>
              <a:endParaRPr lang="en-US" sz="1600"/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5A0711BC-85A4-4C1A-A60D-C32984310C99}"/>
                </a:ext>
              </a:extLst>
            </p:cNvPr>
            <p:cNvSpPr/>
            <p:nvPr userDrawn="1"/>
          </p:nvSpPr>
          <p:spPr bwMode="ltGray">
            <a:xfrm>
              <a:off x="1" y="6482495"/>
              <a:ext cx="11604090" cy="152400"/>
            </a:xfrm>
            <a:prstGeom prst="rect">
              <a:avLst/>
            </a:prstGeom>
            <a:solidFill>
              <a:schemeClr val="accent1">
                <a:lumMod val="50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>
                <a:solidFill>
                  <a:schemeClr val="bg1"/>
                </a:solidFill>
              </a:endParaRPr>
            </a:p>
          </p:txBody>
        </p:sp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7ADDE161-098D-4975-82D9-3A879199A460}"/>
              </a:ext>
            </a:extLst>
          </p:cNvPr>
          <p:cNvGrpSpPr/>
          <p:nvPr userDrawn="1"/>
        </p:nvGrpSpPr>
        <p:grpSpPr bwMode="ltGray">
          <a:xfrm>
            <a:off x="547365" y="6116479"/>
            <a:ext cx="1026382" cy="616486"/>
            <a:chOff x="17864" y="-3048674"/>
            <a:chExt cx="2768679" cy="1662981"/>
          </a:xfrm>
        </p:grpSpPr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1240CE31-16B4-4F8F-A81E-18BD83A2C647}"/>
                </a:ext>
              </a:extLst>
            </p:cNvPr>
            <p:cNvSpPr/>
            <p:nvPr/>
          </p:nvSpPr>
          <p:spPr bwMode="ltGray">
            <a:xfrm>
              <a:off x="17864" y="-3048674"/>
              <a:ext cx="2768679" cy="1662981"/>
            </a:xfrm>
            <a:custGeom>
              <a:avLst/>
              <a:gdLst>
                <a:gd name="connsiteX0" fmla="*/ 1384449 w 2768679"/>
                <a:gd name="connsiteY0" fmla="*/ 0 h 1662981"/>
                <a:gd name="connsiteX1" fmla="*/ 2768680 w 2768679"/>
                <a:gd name="connsiteY1" fmla="*/ 1397245 h 1662981"/>
                <a:gd name="connsiteX2" fmla="*/ 1655784 w 2768679"/>
                <a:gd name="connsiteY2" fmla="*/ 1397245 h 1662981"/>
                <a:gd name="connsiteX3" fmla="*/ 1534512 w 2768679"/>
                <a:gd name="connsiteY3" fmla="*/ 1420511 h 1662981"/>
                <a:gd name="connsiteX4" fmla="*/ 1458826 w 2768679"/>
                <a:gd name="connsiteY4" fmla="*/ 1511246 h 1662981"/>
                <a:gd name="connsiteX5" fmla="*/ 1384449 w 2768679"/>
                <a:gd name="connsiteY5" fmla="*/ 1662982 h 1662981"/>
                <a:gd name="connsiteX6" fmla="*/ 1309926 w 2768679"/>
                <a:gd name="connsiteY6" fmla="*/ 1511246 h 1662981"/>
                <a:gd name="connsiteX7" fmla="*/ 1234240 w 2768679"/>
                <a:gd name="connsiteY7" fmla="*/ 1420511 h 1662981"/>
                <a:gd name="connsiteX8" fmla="*/ 1112968 w 2768679"/>
                <a:gd name="connsiteY8" fmla="*/ 1397245 h 1662981"/>
                <a:gd name="connsiteX9" fmla="*/ 0 w 2768679"/>
                <a:gd name="connsiteY9" fmla="*/ 1397245 h 1662981"/>
                <a:gd name="connsiteX10" fmla="*/ 1384449 w 2768679"/>
                <a:gd name="connsiteY10" fmla="*/ 0 h 16629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768679" h="1662981">
                  <a:moveTo>
                    <a:pt x="1384449" y="0"/>
                  </a:moveTo>
                  <a:lnTo>
                    <a:pt x="2768680" y="1397245"/>
                  </a:lnTo>
                  <a:cubicBezTo>
                    <a:pt x="2768680" y="1397245"/>
                    <a:pt x="1656147" y="1397245"/>
                    <a:pt x="1655784" y="1397245"/>
                  </a:cubicBezTo>
                  <a:cubicBezTo>
                    <a:pt x="1601328" y="1397245"/>
                    <a:pt x="1567011" y="1402625"/>
                    <a:pt x="1534512" y="1420511"/>
                  </a:cubicBezTo>
                  <a:cubicBezTo>
                    <a:pt x="1497142" y="1441086"/>
                    <a:pt x="1479692" y="1468423"/>
                    <a:pt x="1458826" y="1511246"/>
                  </a:cubicBezTo>
                  <a:cubicBezTo>
                    <a:pt x="1458899" y="1511319"/>
                    <a:pt x="1384449" y="1662982"/>
                    <a:pt x="1384449" y="1662982"/>
                  </a:cubicBezTo>
                  <a:cubicBezTo>
                    <a:pt x="1384449" y="1662982"/>
                    <a:pt x="1309854" y="1511319"/>
                    <a:pt x="1309926" y="1511246"/>
                  </a:cubicBezTo>
                  <a:cubicBezTo>
                    <a:pt x="1289060" y="1468423"/>
                    <a:pt x="1271611" y="1441086"/>
                    <a:pt x="1234240" y="1420511"/>
                  </a:cubicBezTo>
                  <a:cubicBezTo>
                    <a:pt x="1201741" y="1402625"/>
                    <a:pt x="1167424" y="1397245"/>
                    <a:pt x="1112968" y="1397245"/>
                  </a:cubicBezTo>
                  <a:cubicBezTo>
                    <a:pt x="1112605" y="1397245"/>
                    <a:pt x="0" y="1397245"/>
                    <a:pt x="0" y="1397245"/>
                  </a:cubicBezTo>
                  <a:lnTo>
                    <a:pt x="1384449" y="0"/>
                  </a:lnTo>
                </a:path>
              </a:pathLst>
            </a:custGeom>
            <a:solidFill>
              <a:srgbClr val="0E5D9D"/>
            </a:solidFill>
            <a:ln w="119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DBC78A8E-D49C-489B-B214-7B5421E2DD29}"/>
                </a:ext>
              </a:extLst>
            </p:cNvPr>
            <p:cNvSpPr/>
            <p:nvPr/>
          </p:nvSpPr>
          <p:spPr bwMode="ltGray">
            <a:xfrm>
              <a:off x="688858" y="-2386985"/>
              <a:ext cx="673102" cy="637477"/>
            </a:xfrm>
            <a:custGeom>
              <a:avLst/>
              <a:gdLst>
                <a:gd name="connsiteX0" fmla="*/ 673103 w 673102"/>
                <a:gd name="connsiteY0" fmla="*/ 589710 h 637477"/>
                <a:gd name="connsiteX1" fmla="*/ 388390 w 673102"/>
                <a:gd name="connsiteY1" fmla="*/ 637478 h 637477"/>
                <a:gd name="connsiteX2" fmla="*/ 0 w 673102"/>
                <a:gd name="connsiteY2" fmla="*/ 323246 h 637477"/>
                <a:gd name="connsiteX3" fmla="*/ 394279 w 673102"/>
                <a:gd name="connsiteY3" fmla="*/ 0 h 637477"/>
                <a:gd name="connsiteX4" fmla="*/ 670486 w 673102"/>
                <a:gd name="connsiteY4" fmla="*/ 54165 h 637477"/>
                <a:gd name="connsiteX5" fmla="*/ 670486 w 673102"/>
                <a:gd name="connsiteY5" fmla="*/ 197249 h 637477"/>
                <a:gd name="connsiteX6" fmla="*/ 649910 w 673102"/>
                <a:gd name="connsiteY6" fmla="*/ 197249 h 637477"/>
                <a:gd name="connsiteX7" fmla="*/ 417108 w 673102"/>
                <a:gd name="connsiteY7" fmla="*/ 115092 h 637477"/>
                <a:gd name="connsiteX8" fmla="*/ 192014 w 673102"/>
                <a:gd name="connsiteY8" fmla="*/ 315467 h 637477"/>
                <a:gd name="connsiteX9" fmla="*/ 422707 w 673102"/>
                <a:gd name="connsiteY9" fmla="*/ 519695 h 637477"/>
                <a:gd name="connsiteX10" fmla="*/ 489014 w 673102"/>
                <a:gd name="connsiteY10" fmla="*/ 509371 h 637477"/>
                <a:gd name="connsiteX11" fmla="*/ 489014 w 673102"/>
                <a:gd name="connsiteY11" fmla="*/ 396460 h 637477"/>
                <a:gd name="connsiteX12" fmla="*/ 344185 w 673102"/>
                <a:gd name="connsiteY12" fmla="*/ 396460 h 637477"/>
                <a:gd name="connsiteX13" fmla="*/ 344185 w 673102"/>
                <a:gd name="connsiteY13" fmla="*/ 281368 h 637477"/>
                <a:gd name="connsiteX14" fmla="*/ 673103 w 673102"/>
                <a:gd name="connsiteY14" fmla="*/ 281368 h 637477"/>
                <a:gd name="connsiteX15" fmla="*/ 673103 w 673102"/>
                <a:gd name="connsiteY15" fmla="*/ 589710 h 6374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673102" h="637477">
                  <a:moveTo>
                    <a:pt x="673103" y="589710"/>
                  </a:moveTo>
                  <a:cubicBezTo>
                    <a:pt x="608032" y="611449"/>
                    <a:pt x="512061" y="637478"/>
                    <a:pt x="388390" y="637478"/>
                  </a:cubicBezTo>
                  <a:cubicBezTo>
                    <a:pt x="117927" y="637478"/>
                    <a:pt x="0" y="499483"/>
                    <a:pt x="0" y="323246"/>
                  </a:cubicBezTo>
                  <a:cubicBezTo>
                    <a:pt x="0" y="121054"/>
                    <a:pt x="160532" y="0"/>
                    <a:pt x="394279" y="0"/>
                  </a:cubicBezTo>
                  <a:cubicBezTo>
                    <a:pt x="516496" y="0"/>
                    <a:pt x="591164" y="21303"/>
                    <a:pt x="670486" y="54165"/>
                  </a:cubicBezTo>
                  <a:lnTo>
                    <a:pt x="670486" y="197249"/>
                  </a:lnTo>
                  <a:lnTo>
                    <a:pt x="649910" y="197249"/>
                  </a:lnTo>
                  <a:cubicBezTo>
                    <a:pt x="592546" y="153117"/>
                    <a:pt x="526529" y="115092"/>
                    <a:pt x="417108" y="115092"/>
                  </a:cubicBezTo>
                  <a:cubicBezTo>
                    <a:pt x="278969" y="115092"/>
                    <a:pt x="192014" y="191650"/>
                    <a:pt x="192014" y="315467"/>
                  </a:cubicBezTo>
                  <a:cubicBezTo>
                    <a:pt x="192014" y="424597"/>
                    <a:pt x="246324" y="525948"/>
                    <a:pt x="422707" y="519695"/>
                  </a:cubicBezTo>
                  <a:cubicBezTo>
                    <a:pt x="440374" y="519041"/>
                    <a:pt x="469819" y="515115"/>
                    <a:pt x="489014" y="509371"/>
                  </a:cubicBezTo>
                  <a:lnTo>
                    <a:pt x="489014" y="396460"/>
                  </a:lnTo>
                  <a:lnTo>
                    <a:pt x="344185" y="396460"/>
                  </a:lnTo>
                  <a:lnTo>
                    <a:pt x="344185" y="281368"/>
                  </a:lnTo>
                  <a:lnTo>
                    <a:pt x="673103" y="281368"/>
                  </a:lnTo>
                  <a:lnTo>
                    <a:pt x="673103" y="589710"/>
                  </a:lnTo>
                </a:path>
              </a:pathLst>
            </a:custGeom>
            <a:solidFill>
              <a:srgbClr val="FFFFFF"/>
            </a:solidFill>
            <a:ln w="119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3907495A-59A8-41BE-A1C7-C0D52021DC9E}"/>
                </a:ext>
              </a:extLst>
            </p:cNvPr>
            <p:cNvSpPr/>
            <p:nvPr/>
          </p:nvSpPr>
          <p:spPr bwMode="ltGray">
            <a:xfrm>
              <a:off x="1449207" y="-2373753"/>
              <a:ext cx="602869" cy="611158"/>
            </a:xfrm>
            <a:custGeom>
              <a:avLst/>
              <a:gdLst>
                <a:gd name="connsiteX0" fmla="*/ 413546 w 602869"/>
                <a:gd name="connsiteY0" fmla="*/ 202992 h 611158"/>
                <a:gd name="connsiteX1" fmla="*/ 364034 w 602869"/>
                <a:gd name="connsiteY1" fmla="*/ 281587 h 611158"/>
                <a:gd name="connsiteX2" fmla="*/ 274679 w 602869"/>
                <a:gd name="connsiteY2" fmla="*/ 296637 h 611158"/>
                <a:gd name="connsiteX3" fmla="*/ 184234 w 602869"/>
                <a:gd name="connsiteY3" fmla="*/ 296637 h 611158"/>
                <a:gd name="connsiteX4" fmla="*/ 184234 w 602869"/>
                <a:gd name="connsiteY4" fmla="*/ 114947 h 611158"/>
                <a:gd name="connsiteX5" fmla="*/ 274679 w 602869"/>
                <a:gd name="connsiteY5" fmla="*/ 114947 h 611158"/>
                <a:gd name="connsiteX6" fmla="*/ 364034 w 602869"/>
                <a:gd name="connsiteY6" fmla="*/ 127234 h 611158"/>
                <a:gd name="connsiteX7" fmla="*/ 413546 w 602869"/>
                <a:gd name="connsiteY7" fmla="*/ 202992 h 611158"/>
                <a:gd name="connsiteX8" fmla="*/ 506318 w 602869"/>
                <a:gd name="connsiteY8" fmla="*/ 36134 h 611158"/>
                <a:gd name="connsiteX9" fmla="*/ 316194 w 602869"/>
                <a:gd name="connsiteY9" fmla="*/ 0 h 611158"/>
                <a:gd name="connsiteX10" fmla="*/ 0 w 602869"/>
                <a:gd name="connsiteY10" fmla="*/ 0 h 611158"/>
                <a:gd name="connsiteX11" fmla="*/ 0 w 602869"/>
                <a:gd name="connsiteY11" fmla="*/ 611158 h 611158"/>
                <a:gd name="connsiteX12" fmla="*/ 184234 w 602869"/>
                <a:gd name="connsiteY12" fmla="*/ 611158 h 611158"/>
                <a:gd name="connsiteX13" fmla="*/ 184234 w 602869"/>
                <a:gd name="connsiteY13" fmla="*/ 411729 h 611158"/>
                <a:gd name="connsiteX14" fmla="*/ 311759 w 602869"/>
                <a:gd name="connsiteY14" fmla="*/ 411729 h 611158"/>
                <a:gd name="connsiteX15" fmla="*/ 505081 w 602869"/>
                <a:gd name="connsiteY15" fmla="*/ 372468 h 611158"/>
                <a:gd name="connsiteX16" fmla="*/ 602870 w 602869"/>
                <a:gd name="connsiteY16" fmla="*/ 192814 h 611158"/>
                <a:gd name="connsiteX17" fmla="*/ 506318 w 602869"/>
                <a:gd name="connsiteY17" fmla="*/ 36134 h 6111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602869" h="611158">
                  <a:moveTo>
                    <a:pt x="413546" y="202992"/>
                  </a:moveTo>
                  <a:cubicBezTo>
                    <a:pt x="413546" y="247561"/>
                    <a:pt x="389481" y="269808"/>
                    <a:pt x="364034" y="281587"/>
                  </a:cubicBezTo>
                  <a:cubicBezTo>
                    <a:pt x="340405" y="292492"/>
                    <a:pt x="305870" y="296637"/>
                    <a:pt x="274679" y="296637"/>
                  </a:cubicBezTo>
                  <a:lnTo>
                    <a:pt x="184234" y="296637"/>
                  </a:lnTo>
                  <a:lnTo>
                    <a:pt x="184234" y="114947"/>
                  </a:lnTo>
                  <a:lnTo>
                    <a:pt x="274679" y="114947"/>
                  </a:lnTo>
                  <a:cubicBezTo>
                    <a:pt x="305870" y="114947"/>
                    <a:pt x="340405" y="116401"/>
                    <a:pt x="364034" y="127234"/>
                  </a:cubicBezTo>
                  <a:cubicBezTo>
                    <a:pt x="389481" y="139012"/>
                    <a:pt x="413546" y="158570"/>
                    <a:pt x="413546" y="202992"/>
                  </a:cubicBezTo>
                  <a:close/>
                  <a:moveTo>
                    <a:pt x="506318" y="36134"/>
                  </a:moveTo>
                  <a:cubicBezTo>
                    <a:pt x="455933" y="7634"/>
                    <a:pt x="390498" y="0"/>
                    <a:pt x="316194" y="0"/>
                  </a:cubicBezTo>
                  <a:lnTo>
                    <a:pt x="0" y="0"/>
                  </a:lnTo>
                  <a:lnTo>
                    <a:pt x="0" y="611158"/>
                  </a:lnTo>
                  <a:lnTo>
                    <a:pt x="184234" y="611158"/>
                  </a:lnTo>
                  <a:lnTo>
                    <a:pt x="184234" y="411729"/>
                  </a:lnTo>
                  <a:lnTo>
                    <a:pt x="311759" y="411729"/>
                  </a:lnTo>
                  <a:cubicBezTo>
                    <a:pt x="383446" y="411729"/>
                    <a:pt x="450916" y="403149"/>
                    <a:pt x="505081" y="372468"/>
                  </a:cubicBezTo>
                  <a:cubicBezTo>
                    <a:pt x="568917" y="336261"/>
                    <a:pt x="602870" y="279551"/>
                    <a:pt x="602870" y="192814"/>
                  </a:cubicBezTo>
                  <a:cubicBezTo>
                    <a:pt x="602870" y="116837"/>
                    <a:pt x="570371" y="72414"/>
                    <a:pt x="506318" y="36134"/>
                  </a:cubicBezTo>
                </a:path>
              </a:pathLst>
            </a:custGeom>
            <a:solidFill>
              <a:srgbClr val="FFFFFF"/>
            </a:solidFill>
            <a:ln w="119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93716915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6" hidden="1">
            <a:extLst>
              <a:ext uri="{FF2B5EF4-FFF2-40B4-BE49-F238E27FC236}">
                <a16:creationId xmlns:a16="http://schemas.microsoft.com/office/drawing/2014/main" id="{9BA84E71-6FE7-4585-B82E-BE56033119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823045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10" name="Object 6" hidden="1">
                        <a:extLst>
                          <a:ext uri="{FF2B5EF4-FFF2-40B4-BE49-F238E27FC236}">
                            <a16:creationId xmlns:a16="http://schemas.microsoft.com/office/drawing/2014/main" id="{9BA84E71-6FE7-4585-B82E-BE56033119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1" hidden="1">
            <a:extLst>
              <a:ext uri="{FF2B5EF4-FFF2-40B4-BE49-F238E27FC236}">
                <a16:creationId xmlns:a16="http://schemas.microsoft.com/office/drawing/2014/main" id="{D62A08AB-557D-4245-84FA-9DB6B6C6845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706563"/>
            <a:ext cx="3813048" cy="694944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lnSpc>
                <a:spcPct val="90000"/>
              </a:lnSpc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0E2D5DBB-C1B8-4A27-836D-C2E6D553234D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1501840" y="6331418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A2582D75-79F8-4634-92EF-A9F0840C018B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327DC5F7-B46F-487F-B2A9-7F9EA38CFA65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750644" y="6679868"/>
            <a:ext cx="325501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ct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8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ct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8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8030382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C4F5195-E8F7-4A2F-B02E-643BB3D8838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444686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C4F5195-E8F7-4A2F-B02E-643BB3D8838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15EFC92-5E3D-4BDC-A378-85D30212A9E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3044280"/>
            <a:ext cx="5065776" cy="769441"/>
          </a:xfrm>
          <a:prstGeom prst="rect">
            <a:avLst/>
          </a:prstGeom>
        </p:spPr>
        <p:txBody>
          <a:bodyPr rIns="365760" anchor="ctr">
            <a:noAutofit/>
          </a:bodyPr>
          <a:lstStyle>
            <a:lvl1pPr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C0D33C43-5B9F-44B4-82FA-BAAD11A7FB8E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1501840" y="6331418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E4983596-431B-4F12-AA07-76914CD3DEE7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1" name="Slide Number">
            <a:extLst>
              <a:ext uri="{FF2B5EF4-FFF2-40B4-BE49-F238E27FC236}">
                <a16:creationId xmlns:a16="http://schemas.microsoft.com/office/drawing/2014/main" id="{65D49480-E507-43D9-B733-97E66132DC62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750644" y="6679868"/>
            <a:ext cx="325501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ct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8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ct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8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2463680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05B6D76-6B4B-4ED5-B8F1-5D1D098312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595742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05B6D76-6B4B-4ED5-B8F1-5D1D098312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BDCF374B-2477-45CD-A00B-B8676A45ACD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id="{99495DFD-8D6A-4DD8-AE3A-47FA42AA0A4F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4580468"/>
            <a:ext cx="11082528" cy="677108"/>
          </a:xfrm>
        </p:spPr>
        <p:txBody>
          <a:bodyPr anchor="b">
            <a:noAutofit/>
          </a:bodyPr>
          <a:lstStyle>
            <a:lvl1pPr>
              <a:lnSpc>
                <a:spcPct val="100000"/>
              </a:lnSpc>
              <a:defRPr sz="4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B871FE09-BB6E-4334-B0EA-E52395AA61B3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1501840" y="6331418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Source: …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FA764DC8-CEA6-42F3-8E66-7C768AAD275E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0" name="Slide Number">
            <a:extLst>
              <a:ext uri="{FF2B5EF4-FFF2-40B4-BE49-F238E27FC236}">
                <a16:creationId xmlns:a16="http://schemas.microsoft.com/office/drawing/2014/main" id="{4FB28BA9-D2EA-4BCB-AEFA-C00359E2A76F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750644" y="6679868"/>
            <a:ext cx="325501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ct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8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ct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8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7837464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C6EE29E-F64A-419F-BFB0-EEDEB71953F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013349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EC6EE29E-F64A-419F-BFB0-EEDEB71953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9526043-F22A-4ED3-B0A1-DD7C4F83AF9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3400" b="1" i="0" baseline="0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8" name="2. Slide Title">
            <a:extLst>
              <a:ext uri="{FF2B5EF4-FFF2-40B4-BE49-F238E27FC236}">
                <a16:creationId xmlns:a16="http://schemas.microsoft.com/office/drawing/2014/main" id="{EA735538-C733-4892-93A4-7B433D8B829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1505712" y="3556229"/>
            <a:ext cx="9180576" cy="523220"/>
          </a:xfrm>
          <a:prstGeom prst="rect">
            <a:avLst/>
          </a:prstGeom>
        </p:spPr>
        <p:txBody>
          <a:bodyPr>
            <a:spAutoFit/>
          </a:bodyPr>
          <a:lstStyle>
            <a:lvl1pPr>
              <a:lnSpc>
                <a:spcPct val="105000"/>
              </a:lnSpc>
              <a:defRPr sz="3400"/>
            </a:lvl1pPr>
          </a:lstStyle>
          <a:p>
            <a:r>
              <a:rPr lang="en-US"/>
              <a:t>“Click to add quote</a:t>
            </a:r>
          </a:p>
        </p:txBody>
      </p:sp>
      <p:sp>
        <p:nvSpPr>
          <p:cNvPr id="6" name="3. Subtitle">
            <a:extLst>
              <a:ext uri="{FF2B5EF4-FFF2-40B4-BE49-F238E27FC236}">
                <a16:creationId xmlns:a16="http://schemas.microsoft.com/office/drawing/2014/main" id="{8DB5022C-F66C-4018-82F3-195571DDD527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>
          <a:xfrm>
            <a:off x="1505712" y="4284630"/>
            <a:ext cx="9180576" cy="27699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add quote source</a:t>
            </a: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97195F4E-ECA7-41A9-AFF3-0C4DAD103DA6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1501840" y="6331418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556D1499-3230-4098-85B2-D4CC7CA621F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1" name="Slide Number">
            <a:extLst>
              <a:ext uri="{FF2B5EF4-FFF2-40B4-BE49-F238E27FC236}">
                <a16:creationId xmlns:a16="http://schemas.microsoft.com/office/drawing/2014/main" id="{D4893C02-F28A-42FF-B73F-EF7A20A1CFDB}"/>
              </a:ext>
            </a:extLst>
          </p:cNvPr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black">
          <a:xfrm>
            <a:off x="11750644" y="6679868"/>
            <a:ext cx="325501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ct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8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ct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8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1065814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A8D6A48-EE20-4EB4-A234-9F3B16C0287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411255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A8D6A48-EE20-4EB4-A234-9F3B16C028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67C50C85-5FB9-4798-A8A4-1DA5B9F3ACC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3413760" y="0"/>
            <a:ext cx="8778240" cy="6858000"/>
          </a:xfrm>
          <a:prstGeom prst="rect">
            <a:avLst/>
          </a:prstGeom>
          <a:solidFill>
            <a:srgbClr val="CEE6FA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6647A441-8DE4-4236-BCC7-B694B2C59E00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2744369"/>
            <a:ext cx="2514600" cy="769441"/>
          </a:xfrm>
        </p:spPr>
        <p:txBody>
          <a:bodyPr anchor="b">
            <a:noAutofit/>
          </a:bodyPr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A4DBA574-6D59-4DFD-82A7-9B1E9AEB906E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6" y="3659644"/>
            <a:ext cx="2514600" cy="553998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25B2DE14-9B3F-4199-B082-9FEB12CE57EA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1501840" y="6331418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96552B7E-7081-4EA8-9351-FE4C7216ADF2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5" y="41597"/>
            <a:ext cx="251460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D30CA5E7-34D5-4324-A458-F7703410F9EB}"/>
              </a:ext>
            </a:extLst>
          </p:cNvPr>
          <p:cNvGrpSpPr/>
          <p:nvPr userDrawn="1"/>
        </p:nvGrpSpPr>
        <p:grpSpPr bwMode="ltGray">
          <a:xfrm>
            <a:off x="547365" y="6116479"/>
            <a:ext cx="1026382" cy="616486"/>
            <a:chOff x="17864" y="-3048674"/>
            <a:chExt cx="2768679" cy="1662981"/>
          </a:xfrm>
        </p:grpSpPr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0598506B-A91C-475A-8378-56BED889C10A}"/>
                </a:ext>
              </a:extLst>
            </p:cNvPr>
            <p:cNvSpPr/>
            <p:nvPr/>
          </p:nvSpPr>
          <p:spPr bwMode="ltGray">
            <a:xfrm>
              <a:off x="17864" y="-3048674"/>
              <a:ext cx="2768679" cy="1662981"/>
            </a:xfrm>
            <a:custGeom>
              <a:avLst/>
              <a:gdLst>
                <a:gd name="connsiteX0" fmla="*/ 1384449 w 2768679"/>
                <a:gd name="connsiteY0" fmla="*/ 0 h 1662981"/>
                <a:gd name="connsiteX1" fmla="*/ 2768680 w 2768679"/>
                <a:gd name="connsiteY1" fmla="*/ 1397245 h 1662981"/>
                <a:gd name="connsiteX2" fmla="*/ 1655784 w 2768679"/>
                <a:gd name="connsiteY2" fmla="*/ 1397245 h 1662981"/>
                <a:gd name="connsiteX3" fmla="*/ 1534512 w 2768679"/>
                <a:gd name="connsiteY3" fmla="*/ 1420511 h 1662981"/>
                <a:gd name="connsiteX4" fmla="*/ 1458826 w 2768679"/>
                <a:gd name="connsiteY4" fmla="*/ 1511246 h 1662981"/>
                <a:gd name="connsiteX5" fmla="*/ 1384449 w 2768679"/>
                <a:gd name="connsiteY5" fmla="*/ 1662982 h 1662981"/>
                <a:gd name="connsiteX6" fmla="*/ 1309926 w 2768679"/>
                <a:gd name="connsiteY6" fmla="*/ 1511246 h 1662981"/>
                <a:gd name="connsiteX7" fmla="*/ 1234240 w 2768679"/>
                <a:gd name="connsiteY7" fmla="*/ 1420511 h 1662981"/>
                <a:gd name="connsiteX8" fmla="*/ 1112968 w 2768679"/>
                <a:gd name="connsiteY8" fmla="*/ 1397245 h 1662981"/>
                <a:gd name="connsiteX9" fmla="*/ 0 w 2768679"/>
                <a:gd name="connsiteY9" fmla="*/ 1397245 h 1662981"/>
                <a:gd name="connsiteX10" fmla="*/ 1384449 w 2768679"/>
                <a:gd name="connsiteY10" fmla="*/ 0 h 16629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768679" h="1662981">
                  <a:moveTo>
                    <a:pt x="1384449" y="0"/>
                  </a:moveTo>
                  <a:lnTo>
                    <a:pt x="2768680" y="1397245"/>
                  </a:lnTo>
                  <a:cubicBezTo>
                    <a:pt x="2768680" y="1397245"/>
                    <a:pt x="1656147" y="1397245"/>
                    <a:pt x="1655784" y="1397245"/>
                  </a:cubicBezTo>
                  <a:cubicBezTo>
                    <a:pt x="1601328" y="1397245"/>
                    <a:pt x="1567011" y="1402625"/>
                    <a:pt x="1534512" y="1420511"/>
                  </a:cubicBezTo>
                  <a:cubicBezTo>
                    <a:pt x="1497142" y="1441086"/>
                    <a:pt x="1479692" y="1468423"/>
                    <a:pt x="1458826" y="1511246"/>
                  </a:cubicBezTo>
                  <a:cubicBezTo>
                    <a:pt x="1458899" y="1511319"/>
                    <a:pt x="1384449" y="1662982"/>
                    <a:pt x="1384449" y="1662982"/>
                  </a:cubicBezTo>
                  <a:cubicBezTo>
                    <a:pt x="1384449" y="1662982"/>
                    <a:pt x="1309854" y="1511319"/>
                    <a:pt x="1309926" y="1511246"/>
                  </a:cubicBezTo>
                  <a:cubicBezTo>
                    <a:pt x="1289060" y="1468423"/>
                    <a:pt x="1271611" y="1441086"/>
                    <a:pt x="1234240" y="1420511"/>
                  </a:cubicBezTo>
                  <a:cubicBezTo>
                    <a:pt x="1201741" y="1402625"/>
                    <a:pt x="1167424" y="1397245"/>
                    <a:pt x="1112968" y="1397245"/>
                  </a:cubicBezTo>
                  <a:cubicBezTo>
                    <a:pt x="1112605" y="1397245"/>
                    <a:pt x="0" y="1397245"/>
                    <a:pt x="0" y="1397245"/>
                  </a:cubicBezTo>
                  <a:lnTo>
                    <a:pt x="1384449" y="0"/>
                  </a:lnTo>
                </a:path>
              </a:pathLst>
            </a:custGeom>
            <a:solidFill>
              <a:srgbClr val="0E5D9D"/>
            </a:solidFill>
            <a:ln w="119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70086DF6-50D3-4F9A-8733-EE31CA7ACC50}"/>
                </a:ext>
              </a:extLst>
            </p:cNvPr>
            <p:cNvSpPr/>
            <p:nvPr/>
          </p:nvSpPr>
          <p:spPr bwMode="ltGray">
            <a:xfrm>
              <a:off x="688858" y="-2386985"/>
              <a:ext cx="673102" cy="637477"/>
            </a:xfrm>
            <a:custGeom>
              <a:avLst/>
              <a:gdLst>
                <a:gd name="connsiteX0" fmla="*/ 673103 w 673102"/>
                <a:gd name="connsiteY0" fmla="*/ 589710 h 637477"/>
                <a:gd name="connsiteX1" fmla="*/ 388390 w 673102"/>
                <a:gd name="connsiteY1" fmla="*/ 637478 h 637477"/>
                <a:gd name="connsiteX2" fmla="*/ 0 w 673102"/>
                <a:gd name="connsiteY2" fmla="*/ 323246 h 637477"/>
                <a:gd name="connsiteX3" fmla="*/ 394279 w 673102"/>
                <a:gd name="connsiteY3" fmla="*/ 0 h 637477"/>
                <a:gd name="connsiteX4" fmla="*/ 670486 w 673102"/>
                <a:gd name="connsiteY4" fmla="*/ 54165 h 637477"/>
                <a:gd name="connsiteX5" fmla="*/ 670486 w 673102"/>
                <a:gd name="connsiteY5" fmla="*/ 197249 h 637477"/>
                <a:gd name="connsiteX6" fmla="*/ 649910 w 673102"/>
                <a:gd name="connsiteY6" fmla="*/ 197249 h 637477"/>
                <a:gd name="connsiteX7" fmla="*/ 417108 w 673102"/>
                <a:gd name="connsiteY7" fmla="*/ 115092 h 637477"/>
                <a:gd name="connsiteX8" fmla="*/ 192014 w 673102"/>
                <a:gd name="connsiteY8" fmla="*/ 315467 h 637477"/>
                <a:gd name="connsiteX9" fmla="*/ 422707 w 673102"/>
                <a:gd name="connsiteY9" fmla="*/ 519695 h 637477"/>
                <a:gd name="connsiteX10" fmla="*/ 489014 w 673102"/>
                <a:gd name="connsiteY10" fmla="*/ 509371 h 637477"/>
                <a:gd name="connsiteX11" fmla="*/ 489014 w 673102"/>
                <a:gd name="connsiteY11" fmla="*/ 396460 h 637477"/>
                <a:gd name="connsiteX12" fmla="*/ 344185 w 673102"/>
                <a:gd name="connsiteY12" fmla="*/ 396460 h 637477"/>
                <a:gd name="connsiteX13" fmla="*/ 344185 w 673102"/>
                <a:gd name="connsiteY13" fmla="*/ 281368 h 637477"/>
                <a:gd name="connsiteX14" fmla="*/ 673103 w 673102"/>
                <a:gd name="connsiteY14" fmla="*/ 281368 h 637477"/>
                <a:gd name="connsiteX15" fmla="*/ 673103 w 673102"/>
                <a:gd name="connsiteY15" fmla="*/ 589710 h 6374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673102" h="637477">
                  <a:moveTo>
                    <a:pt x="673103" y="589710"/>
                  </a:moveTo>
                  <a:cubicBezTo>
                    <a:pt x="608032" y="611449"/>
                    <a:pt x="512061" y="637478"/>
                    <a:pt x="388390" y="637478"/>
                  </a:cubicBezTo>
                  <a:cubicBezTo>
                    <a:pt x="117927" y="637478"/>
                    <a:pt x="0" y="499483"/>
                    <a:pt x="0" y="323246"/>
                  </a:cubicBezTo>
                  <a:cubicBezTo>
                    <a:pt x="0" y="121054"/>
                    <a:pt x="160532" y="0"/>
                    <a:pt x="394279" y="0"/>
                  </a:cubicBezTo>
                  <a:cubicBezTo>
                    <a:pt x="516496" y="0"/>
                    <a:pt x="591164" y="21303"/>
                    <a:pt x="670486" y="54165"/>
                  </a:cubicBezTo>
                  <a:lnTo>
                    <a:pt x="670486" y="197249"/>
                  </a:lnTo>
                  <a:lnTo>
                    <a:pt x="649910" y="197249"/>
                  </a:lnTo>
                  <a:cubicBezTo>
                    <a:pt x="592546" y="153117"/>
                    <a:pt x="526529" y="115092"/>
                    <a:pt x="417108" y="115092"/>
                  </a:cubicBezTo>
                  <a:cubicBezTo>
                    <a:pt x="278969" y="115092"/>
                    <a:pt x="192014" y="191650"/>
                    <a:pt x="192014" y="315467"/>
                  </a:cubicBezTo>
                  <a:cubicBezTo>
                    <a:pt x="192014" y="424597"/>
                    <a:pt x="246324" y="525948"/>
                    <a:pt x="422707" y="519695"/>
                  </a:cubicBezTo>
                  <a:cubicBezTo>
                    <a:pt x="440374" y="519041"/>
                    <a:pt x="469819" y="515115"/>
                    <a:pt x="489014" y="509371"/>
                  </a:cubicBezTo>
                  <a:lnTo>
                    <a:pt x="489014" y="396460"/>
                  </a:lnTo>
                  <a:lnTo>
                    <a:pt x="344185" y="396460"/>
                  </a:lnTo>
                  <a:lnTo>
                    <a:pt x="344185" y="281368"/>
                  </a:lnTo>
                  <a:lnTo>
                    <a:pt x="673103" y="281368"/>
                  </a:lnTo>
                  <a:lnTo>
                    <a:pt x="673103" y="589710"/>
                  </a:lnTo>
                </a:path>
              </a:pathLst>
            </a:custGeom>
            <a:solidFill>
              <a:srgbClr val="FFFFFF"/>
            </a:solidFill>
            <a:ln w="119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013563BB-8D3C-4213-A9CF-DDBC542A2029}"/>
                </a:ext>
              </a:extLst>
            </p:cNvPr>
            <p:cNvSpPr/>
            <p:nvPr/>
          </p:nvSpPr>
          <p:spPr bwMode="ltGray">
            <a:xfrm>
              <a:off x="1449207" y="-2373753"/>
              <a:ext cx="602869" cy="611158"/>
            </a:xfrm>
            <a:custGeom>
              <a:avLst/>
              <a:gdLst>
                <a:gd name="connsiteX0" fmla="*/ 413546 w 602869"/>
                <a:gd name="connsiteY0" fmla="*/ 202992 h 611158"/>
                <a:gd name="connsiteX1" fmla="*/ 364034 w 602869"/>
                <a:gd name="connsiteY1" fmla="*/ 281587 h 611158"/>
                <a:gd name="connsiteX2" fmla="*/ 274679 w 602869"/>
                <a:gd name="connsiteY2" fmla="*/ 296637 h 611158"/>
                <a:gd name="connsiteX3" fmla="*/ 184234 w 602869"/>
                <a:gd name="connsiteY3" fmla="*/ 296637 h 611158"/>
                <a:gd name="connsiteX4" fmla="*/ 184234 w 602869"/>
                <a:gd name="connsiteY4" fmla="*/ 114947 h 611158"/>
                <a:gd name="connsiteX5" fmla="*/ 274679 w 602869"/>
                <a:gd name="connsiteY5" fmla="*/ 114947 h 611158"/>
                <a:gd name="connsiteX6" fmla="*/ 364034 w 602869"/>
                <a:gd name="connsiteY6" fmla="*/ 127234 h 611158"/>
                <a:gd name="connsiteX7" fmla="*/ 413546 w 602869"/>
                <a:gd name="connsiteY7" fmla="*/ 202992 h 611158"/>
                <a:gd name="connsiteX8" fmla="*/ 506318 w 602869"/>
                <a:gd name="connsiteY8" fmla="*/ 36134 h 611158"/>
                <a:gd name="connsiteX9" fmla="*/ 316194 w 602869"/>
                <a:gd name="connsiteY9" fmla="*/ 0 h 611158"/>
                <a:gd name="connsiteX10" fmla="*/ 0 w 602869"/>
                <a:gd name="connsiteY10" fmla="*/ 0 h 611158"/>
                <a:gd name="connsiteX11" fmla="*/ 0 w 602869"/>
                <a:gd name="connsiteY11" fmla="*/ 611158 h 611158"/>
                <a:gd name="connsiteX12" fmla="*/ 184234 w 602869"/>
                <a:gd name="connsiteY12" fmla="*/ 611158 h 611158"/>
                <a:gd name="connsiteX13" fmla="*/ 184234 w 602869"/>
                <a:gd name="connsiteY13" fmla="*/ 411729 h 611158"/>
                <a:gd name="connsiteX14" fmla="*/ 311759 w 602869"/>
                <a:gd name="connsiteY14" fmla="*/ 411729 h 611158"/>
                <a:gd name="connsiteX15" fmla="*/ 505081 w 602869"/>
                <a:gd name="connsiteY15" fmla="*/ 372468 h 611158"/>
                <a:gd name="connsiteX16" fmla="*/ 602870 w 602869"/>
                <a:gd name="connsiteY16" fmla="*/ 192814 h 611158"/>
                <a:gd name="connsiteX17" fmla="*/ 506318 w 602869"/>
                <a:gd name="connsiteY17" fmla="*/ 36134 h 6111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602869" h="611158">
                  <a:moveTo>
                    <a:pt x="413546" y="202992"/>
                  </a:moveTo>
                  <a:cubicBezTo>
                    <a:pt x="413546" y="247561"/>
                    <a:pt x="389481" y="269808"/>
                    <a:pt x="364034" y="281587"/>
                  </a:cubicBezTo>
                  <a:cubicBezTo>
                    <a:pt x="340405" y="292492"/>
                    <a:pt x="305870" y="296637"/>
                    <a:pt x="274679" y="296637"/>
                  </a:cubicBezTo>
                  <a:lnTo>
                    <a:pt x="184234" y="296637"/>
                  </a:lnTo>
                  <a:lnTo>
                    <a:pt x="184234" y="114947"/>
                  </a:lnTo>
                  <a:lnTo>
                    <a:pt x="274679" y="114947"/>
                  </a:lnTo>
                  <a:cubicBezTo>
                    <a:pt x="305870" y="114947"/>
                    <a:pt x="340405" y="116401"/>
                    <a:pt x="364034" y="127234"/>
                  </a:cubicBezTo>
                  <a:cubicBezTo>
                    <a:pt x="389481" y="139012"/>
                    <a:pt x="413546" y="158570"/>
                    <a:pt x="413546" y="202992"/>
                  </a:cubicBezTo>
                  <a:close/>
                  <a:moveTo>
                    <a:pt x="506318" y="36134"/>
                  </a:moveTo>
                  <a:cubicBezTo>
                    <a:pt x="455933" y="7634"/>
                    <a:pt x="390498" y="0"/>
                    <a:pt x="316194" y="0"/>
                  </a:cubicBezTo>
                  <a:lnTo>
                    <a:pt x="0" y="0"/>
                  </a:lnTo>
                  <a:lnTo>
                    <a:pt x="0" y="611158"/>
                  </a:lnTo>
                  <a:lnTo>
                    <a:pt x="184234" y="611158"/>
                  </a:lnTo>
                  <a:lnTo>
                    <a:pt x="184234" y="411729"/>
                  </a:lnTo>
                  <a:lnTo>
                    <a:pt x="311759" y="411729"/>
                  </a:lnTo>
                  <a:cubicBezTo>
                    <a:pt x="383446" y="411729"/>
                    <a:pt x="450916" y="403149"/>
                    <a:pt x="505081" y="372468"/>
                  </a:cubicBezTo>
                  <a:cubicBezTo>
                    <a:pt x="568917" y="336261"/>
                    <a:pt x="602870" y="279551"/>
                    <a:pt x="602870" y="192814"/>
                  </a:cubicBezTo>
                  <a:cubicBezTo>
                    <a:pt x="602870" y="116837"/>
                    <a:pt x="570371" y="72414"/>
                    <a:pt x="506318" y="36134"/>
                  </a:cubicBezTo>
                </a:path>
              </a:pathLst>
            </a:custGeom>
            <a:solidFill>
              <a:srgbClr val="FFFFFF"/>
            </a:solidFill>
            <a:ln w="119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23" name="Slide Number">
            <a:extLst>
              <a:ext uri="{FF2B5EF4-FFF2-40B4-BE49-F238E27FC236}">
                <a16:creationId xmlns:a16="http://schemas.microsoft.com/office/drawing/2014/main" id="{8E5B7D7C-5707-44C7-AB16-2BDB410AC046}"/>
              </a:ext>
            </a:extLst>
          </p:cNvPr>
          <p:cNvSpPr>
            <a:spLocks noChangeArrowheads="1"/>
          </p:cNvSpPr>
          <p:nvPr userDrawn="1">
            <p:custDataLst>
              <p:tags r:id="rId8"/>
            </p:custDataLst>
          </p:nvPr>
        </p:nvSpPr>
        <p:spPr bwMode="black">
          <a:xfrm>
            <a:off x="11750644" y="6679868"/>
            <a:ext cx="325501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ct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8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ct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8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CB40A82A-28F7-4005-BA4F-8CCB5416D2F2}"/>
              </a:ext>
            </a:extLst>
          </p:cNvPr>
          <p:cNvSpPr txBox="1"/>
          <p:nvPr userDrawn="1"/>
        </p:nvSpPr>
        <p:spPr>
          <a:xfrm>
            <a:off x="3252274" y="6679868"/>
            <a:ext cx="5687454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US" sz="800">
                <a:solidFill>
                  <a:srgbClr val="000000">
                    <a:lumMod val="65000"/>
                    <a:lumOff val="35000"/>
                  </a:srgbClr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©2021 Georgia-Pacific LLC. Confidential and Proprietary Information. Do not distribute or copy without prior consent. All rights reserved</a:t>
            </a:r>
          </a:p>
        </p:txBody>
      </p:sp>
    </p:spTree>
    <p:extLst>
      <p:ext uri="{BB962C8B-B14F-4D97-AF65-F5344CB8AC3E}">
        <p14:creationId xmlns:p14="http://schemas.microsoft.com/office/powerpoint/2010/main" val="141846902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EE6E84E-0DE7-4EEF-8932-BF42153B3B5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724338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EE6E84E-0DE7-4EEF-8932-BF42153B3B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9D2CA90-0144-4292-9526-98A508F5317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4364736" y="0"/>
            <a:ext cx="7827264" cy="6858000"/>
          </a:xfrm>
          <a:prstGeom prst="rect">
            <a:avLst/>
          </a:prstGeom>
          <a:solidFill>
            <a:srgbClr val="CEE6FA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4EF89F43-35C6-451B-BBE8-87D2B8B83F5E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2744369"/>
            <a:ext cx="3465576" cy="769441"/>
          </a:xfrm>
          <a:prstGeom prst="rect">
            <a:avLst/>
          </a:prstGeom>
        </p:spPr>
        <p:txBody>
          <a:bodyPr wrap="square" anchor="b">
            <a:noAutofit/>
          </a:bodyPr>
          <a:lstStyle>
            <a:lvl1pPr algn="l"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9F06A69A-B095-4159-932B-3658DD253FDF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5" y="3659644"/>
            <a:ext cx="3465575" cy="27699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DA204BE1-D5C8-4D03-9090-21D41FEC78E0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1501840" y="6331418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79C07342-0520-417C-B878-54C94CBD853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5" y="41597"/>
            <a:ext cx="3465577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C86326E0-D670-4912-B00B-8EEA8FA7BB16}"/>
              </a:ext>
            </a:extLst>
          </p:cNvPr>
          <p:cNvGrpSpPr/>
          <p:nvPr userDrawn="1"/>
        </p:nvGrpSpPr>
        <p:grpSpPr bwMode="ltGray">
          <a:xfrm>
            <a:off x="547365" y="6116479"/>
            <a:ext cx="1026382" cy="616486"/>
            <a:chOff x="17864" y="-3048674"/>
            <a:chExt cx="2768679" cy="1662981"/>
          </a:xfrm>
        </p:grpSpPr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DE7801D2-5A56-4885-8A1D-51EB2DE88CE5}"/>
                </a:ext>
              </a:extLst>
            </p:cNvPr>
            <p:cNvSpPr/>
            <p:nvPr/>
          </p:nvSpPr>
          <p:spPr bwMode="ltGray">
            <a:xfrm>
              <a:off x="17864" y="-3048674"/>
              <a:ext cx="2768679" cy="1662981"/>
            </a:xfrm>
            <a:custGeom>
              <a:avLst/>
              <a:gdLst>
                <a:gd name="connsiteX0" fmla="*/ 1384449 w 2768679"/>
                <a:gd name="connsiteY0" fmla="*/ 0 h 1662981"/>
                <a:gd name="connsiteX1" fmla="*/ 2768680 w 2768679"/>
                <a:gd name="connsiteY1" fmla="*/ 1397245 h 1662981"/>
                <a:gd name="connsiteX2" fmla="*/ 1655784 w 2768679"/>
                <a:gd name="connsiteY2" fmla="*/ 1397245 h 1662981"/>
                <a:gd name="connsiteX3" fmla="*/ 1534512 w 2768679"/>
                <a:gd name="connsiteY3" fmla="*/ 1420511 h 1662981"/>
                <a:gd name="connsiteX4" fmla="*/ 1458826 w 2768679"/>
                <a:gd name="connsiteY4" fmla="*/ 1511246 h 1662981"/>
                <a:gd name="connsiteX5" fmla="*/ 1384449 w 2768679"/>
                <a:gd name="connsiteY5" fmla="*/ 1662982 h 1662981"/>
                <a:gd name="connsiteX6" fmla="*/ 1309926 w 2768679"/>
                <a:gd name="connsiteY6" fmla="*/ 1511246 h 1662981"/>
                <a:gd name="connsiteX7" fmla="*/ 1234240 w 2768679"/>
                <a:gd name="connsiteY7" fmla="*/ 1420511 h 1662981"/>
                <a:gd name="connsiteX8" fmla="*/ 1112968 w 2768679"/>
                <a:gd name="connsiteY8" fmla="*/ 1397245 h 1662981"/>
                <a:gd name="connsiteX9" fmla="*/ 0 w 2768679"/>
                <a:gd name="connsiteY9" fmla="*/ 1397245 h 1662981"/>
                <a:gd name="connsiteX10" fmla="*/ 1384449 w 2768679"/>
                <a:gd name="connsiteY10" fmla="*/ 0 h 16629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768679" h="1662981">
                  <a:moveTo>
                    <a:pt x="1384449" y="0"/>
                  </a:moveTo>
                  <a:lnTo>
                    <a:pt x="2768680" y="1397245"/>
                  </a:lnTo>
                  <a:cubicBezTo>
                    <a:pt x="2768680" y="1397245"/>
                    <a:pt x="1656147" y="1397245"/>
                    <a:pt x="1655784" y="1397245"/>
                  </a:cubicBezTo>
                  <a:cubicBezTo>
                    <a:pt x="1601328" y="1397245"/>
                    <a:pt x="1567011" y="1402625"/>
                    <a:pt x="1534512" y="1420511"/>
                  </a:cubicBezTo>
                  <a:cubicBezTo>
                    <a:pt x="1497142" y="1441086"/>
                    <a:pt x="1479692" y="1468423"/>
                    <a:pt x="1458826" y="1511246"/>
                  </a:cubicBezTo>
                  <a:cubicBezTo>
                    <a:pt x="1458899" y="1511319"/>
                    <a:pt x="1384449" y="1662982"/>
                    <a:pt x="1384449" y="1662982"/>
                  </a:cubicBezTo>
                  <a:cubicBezTo>
                    <a:pt x="1384449" y="1662982"/>
                    <a:pt x="1309854" y="1511319"/>
                    <a:pt x="1309926" y="1511246"/>
                  </a:cubicBezTo>
                  <a:cubicBezTo>
                    <a:pt x="1289060" y="1468423"/>
                    <a:pt x="1271611" y="1441086"/>
                    <a:pt x="1234240" y="1420511"/>
                  </a:cubicBezTo>
                  <a:cubicBezTo>
                    <a:pt x="1201741" y="1402625"/>
                    <a:pt x="1167424" y="1397245"/>
                    <a:pt x="1112968" y="1397245"/>
                  </a:cubicBezTo>
                  <a:cubicBezTo>
                    <a:pt x="1112605" y="1397245"/>
                    <a:pt x="0" y="1397245"/>
                    <a:pt x="0" y="1397245"/>
                  </a:cubicBezTo>
                  <a:lnTo>
                    <a:pt x="1384449" y="0"/>
                  </a:lnTo>
                </a:path>
              </a:pathLst>
            </a:custGeom>
            <a:solidFill>
              <a:srgbClr val="0E5D9D"/>
            </a:solidFill>
            <a:ln w="119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6D1D9FC8-CC1F-48B2-BC7E-5CC59EE65607}"/>
                </a:ext>
              </a:extLst>
            </p:cNvPr>
            <p:cNvSpPr/>
            <p:nvPr/>
          </p:nvSpPr>
          <p:spPr bwMode="ltGray">
            <a:xfrm>
              <a:off x="688858" y="-2386985"/>
              <a:ext cx="673102" cy="637477"/>
            </a:xfrm>
            <a:custGeom>
              <a:avLst/>
              <a:gdLst>
                <a:gd name="connsiteX0" fmla="*/ 673103 w 673102"/>
                <a:gd name="connsiteY0" fmla="*/ 589710 h 637477"/>
                <a:gd name="connsiteX1" fmla="*/ 388390 w 673102"/>
                <a:gd name="connsiteY1" fmla="*/ 637478 h 637477"/>
                <a:gd name="connsiteX2" fmla="*/ 0 w 673102"/>
                <a:gd name="connsiteY2" fmla="*/ 323246 h 637477"/>
                <a:gd name="connsiteX3" fmla="*/ 394279 w 673102"/>
                <a:gd name="connsiteY3" fmla="*/ 0 h 637477"/>
                <a:gd name="connsiteX4" fmla="*/ 670486 w 673102"/>
                <a:gd name="connsiteY4" fmla="*/ 54165 h 637477"/>
                <a:gd name="connsiteX5" fmla="*/ 670486 w 673102"/>
                <a:gd name="connsiteY5" fmla="*/ 197249 h 637477"/>
                <a:gd name="connsiteX6" fmla="*/ 649910 w 673102"/>
                <a:gd name="connsiteY6" fmla="*/ 197249 h 637477"/>
                <a:gd name="connsiteX7" fmla="*/ 417108 w 673102"/>
                <a:gd name="connsiteY7" fmla="*/ 115092 h 637477"/>
                <a:gd name="connsiteX8" fmla="*/ 192014 w 673102"/>
                <a:gd name="connsiteY8" fmla="*/ 315467 h 637477"/>
                <a:gd name="connsiteX9" fmla="*/ 422707 w 673102"/>
                <a:gd name="connsiteY9" fmla="*/ 519695 h 637477"/>
                <a:gd name="connsiteX10" fmla="*/ 489014 w 673102"/>
                <a:gd name="connsiteY10" fmla="*/ 509371 h 637477"/>
                <a:gd name="connsiteX11" fmla="*/ 489014 w 673102"/>
                <a:gd name="connsiteY11" fmla="*/ 396460 h 637477"/>
                <a:gd name="connsiteX12" fmla="*/ 344185 w 673102"/>
                <a:gd name="connsiteY12" fmla="*/ 396460 h 637477"/>
                <a:gd name="connsiteX13" fmla="*/ 344185 w 673102"/>
                <a:gd name="connsiteY13" fmla="*/ 281368 h 637477"/>
                <a:gd name="connsiteX14" fmla="*/ 673103 w 673102"/>
                <a:gd name="connsiteY14" fmla="*/ 281368 h 637477"/>
                <a:gd name="connsiteX15" fmla="*/ 673103 w 673102"/>
                <a:gd name="connsiteY15" fmla="*/ 589710 h 6374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673102" h="637477">
                  <a:moveTo>
                    <a:pt x="673103" y="589710"/>
                  </a:moveTo>
                  <a:cubicBezTo>
                    <a:pt x="608032" y="611449"/>
                    <a:pt x="512061" y="637478"/>
                    <a:pt x="388390" y="637478"/>
                  </a:cubicBezTo>
                  <a:cubicBezTo>
                    <a:pt x="117927" y="637478"/>
                    <a:pt x="0" y="499483"/>
                    <a:pt x="0" y="323246"/>
                  </a:cubicBezTo>
                  <a:cubicBezTo>
                    <a:pt x="0" y="121054"/>
                    <a:pt x="160532" y="0"/>
                    <a:pt x="394279" y="0"/>
                  </a:cubicBezTo>
                  <a:cubicBezTo>
                    <a:pt x="516496" y="0"/>
                    <a:pt x="591164" y="21303"/>
                    <a:pt x="670486" y="54165"/>
                  </a:cubicBezTo>
                  <a:lnTo>
                    <a:pt x="670486" y="197249"/>
                  </a:lnTo>
                  <a:lnTo>
                    <a:pt x="649910" y="197249"/>
                  </a:lnTo>
                  <a:cubicBezTo>
                    <a:pt x="592546" y="153117"/>
                    <a:pt x="526529" y="115092"/>
                    <a:pt x="417108" y="115092"/>
                  </a:cubicBezTo>
                  <a:cubicBezTo>
                    <a:pt x="278969" y="115092"/>
                    <a:pt x="192014" y="191650"/>
                    <a:pt x="192014" y="315467"/>
                  </a:cubicBezTo>
                  <a:cubicBezTo>
                    <a:pt x="192014" y="424597"/>
                    <a:pt x="246324" y="525948"/>
                    <a:pt x="422707" y="519695"/>
                  </a:cubicBezTo>
                  <a:cubicBezTo>
                    <a:pt x="440374" y="519041"/>
                    <a:pt x="469819" y="515115"/>
                    <a:pt x="489014" y="509371"/>
                  </a:cubicBezTo>
                  <a:lnTo>
                    <a:pt x="489014" y="396460"/>
                  </a:lnTo>
                  <a:lnTo>
                    <a:pt x="344185" y="396460"/>
                  </a:lnTo>
                  <a:lnTo>
                    <a:pt x="344185" y="281368"/>
                  </a:lnTo>
                  <a:lnTo>
                    <a:pt x="673103" y="281368"/>
                  </a:lnTo>
                  <a:lnTo>
                    <a:pt x="673103" y="589710"/>
                  </a:lnTo>
                </a:path>
              </a:pathLst>
            </a:custGeom>
            <a:solidFill>
              <a:srgbClr val="FFFFFF"/>
            </a:solidFill>
            <a:ln w="119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5CB8EB3F-A385-4A4A-A52A-504669F18953}"/>
                </a:ext>
              </a:extLst>
            </p:cNvPr>
            <p:cNvSpPr/>
            <p:nvPr/>
          </p:nvSpPr>
          <p:spPr bwMode="ltGray">
            <a:xfrm>
              <a:off x="1449207" y="-2373753"/>
              <a:ext cx="602869" cy="611158"/>
            </a:xfrm>
            <a:custGeom>
              <a:avLst/>
              <a:gdLst>
                <a:gd name="connsiteX0" fmla="*/ 413546 w 602869"/>
                <a:gd name="connsiteY0" fmla="*/ 202992 h 611158"/>
                <a:gd name="connsiteX1" fmla="*/ 364034 w 602869"/>
                <a:gd name="connsiteY1" fmla="*/ 281587 h 611158"/>
                <a:gd name="connsiteX2" fmla="*/ 274679 w 602869"/>
                <a:gd name="connsiteY2" fmla="*/ 296637 h 611158"/>
                <a:gd name="connsiteX3" fmla="*/ 184234 w 602869"/>
                <a:gd name="connsiteY3" fmla="*/ 296637 h 611158"/>
                <a:gd name="connsiteX4" fmla="*/ 184234 w 602869"/>
                <a:gd name="connsiteY4" fmla="*/ 114947 h 611158"/>
                <a:gd name="connsiteX5" fmla="*/ 274679 w 602869"/>
                <a:gd name="connsiteY5" fmla="*/ 114947 h 611158"/>
                <a:gd name="connsiteX6" fmla="*/ 364034 w 602869"/>
                <a:gd name="connsiteY6" fmla="*/ 127234 h 611158"/>
                <a:gd name="connsiteX7" fmla="*/ 413546 w 602869"/>
                <a:gd name="connsiteY7" fmla="*/ 202992 h 611158"/>
                <a:gd name="connsiteX8" fmla="*/ 506318 w 602869"/>
                <a:gd name="connsiteY8" fmla="*/ 36134 h 611158"/>
                <a:gd name="connsiteX9" fmla="*/ 316194 w 602869"/>
                <a:gd name="connsiteY9" fmla="*/ 0 h 611158"/>
                <a:gd name="connsiteX10" fmla="*/ 0 w 602869"/>
                <a:gd name="connsiteY10" fmla="*/ 0 h 611158"/>
                <a:gd name="connsiteX11" fmla="*/ 0 w 602869"/>
                <a:gd name="connsiteY11" fmla="*/ 611158 h 611158"/>
                <a:gd name="connsiteX12" fmla="*/ 184234 w 602869"/>
                <a:gd name="connsiteY12" fmla="*/ 611158 h 611158"/>
                <a:gd name="connsiteX13" fmla="*/ 184234 w 602869"/>
                <a:gd name="connsiteY13" fmla="*/ 411729 h 611158"/>
                <a:gd name="connsiteX14" fmla="*/ 311759 w 602869"/>
                <a:gd name="connsiteY14" fmla="*/ 411729 h 611158"/>
                <a:gd name="connsiteX15" fmla="*/ 505081 w 602869"/>
                <a:gd name="connsiteY15" fmla="*/ 372468 h 611158"/>
                <a:gd name="connsiteX16" fmla="*/ 602870 w 602869"/>
                <a:gd name="connsiteY16" fmla="*/ 192814 h 611158"/>
                <a:gd name="connsiteX17" fmla="*/ 506318 w 602869"/>
                <a:gd name="connsiteY17" fmla="*/ 36134 h 6111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602869" h="611158">
                  <a:moveTo>
                    <a:pt x="413546" y="202992"/>
                  </a:moveTo>
                  <a:cubicBezTo>
                    <a:pt x="413546" y="247561"/>
                    <a:pt x="389481" y="269808"/>
                    <a:pt x="364034" y="281587"/>
                  </a:cubicBezTo>
                  <a:cubicBezTo>
                    <a:pt x="340405" y="292492"/>
                    <a:pt x="305870" y="296637"/>
                    <a:pt x="274679" y="296637"/>
                  </a:cubicBezTo>
                  <a:lnTo>
                    <a:pt x="184234" y="296637"/>
                  </a:lnTo>
                  <a:lnTo>
                    <a:pt x="184234" y="114947"/>
                  </a:lnTo>
                  <a:lnTo>
                    <a:pt x="274679" y="114947"/>
                  </a:lnTo>
                  <a:cubicBezTo>
                    <a:pt x="305870" y="114947"/>
                    <a:pt x="340405" y="116401"/>
                    <a:pt x="364034" y="127234"/>
                  </a:cubicBezTo>
                  <a:cubicBezTo>
                    <a:pt x="389481" y="139012"/>
                    <a:pt x="413546" y="158570"/>
                    <a:pt x="413546" y="202992"/>
                  </a:cubicBezTo>
                  <a:close/>
                  <a:moveTo>
                    <a:pt x="506318" y="36134"/>
                  </a:moveTo>
                  <a:cubicBezTo>
                    <a:pt x="455933" y="7634"/>
                    <a:pt x="390498" y="0"/>
                    <a:pt x="316194" y="0"/>
                  </a:cubicBezTo>
                  <a:lnTo>
                    <a:pt x="0" y="0"/>
                  </a:lnTo>
                  <a:lnTo>
                    <a:pt x="0" y="611158"/>
                  </a:lnTo>
                  <a:lnTo>
                    <a:pt x="184234" y="611158"/>
                  </a:lnTo>
                  <a:lnTo>
                    <a:pt x="184234" y="411729"/>
                  </a:lnTo>
                  <a:lnTo>
                    <a:pt x="311759" y="411729"/>
                  </a:lnTo>
                  <a:cubicBezTo>
                    <a:pt x="383446" y="411729"/>
                    <a:pt x="450916" y="403149"/>
                    <a:pt x="505081" y="372468"/>
                  </a:cubicBezTo>
                  <a:cubicBezTo>
                    <a:pt x="568917" y="336261"/>
                    <a:pt x="602870" y="279551"/>
                    <a:pt x="602870" y="192814"/>
                  </a:cubicBezTo>
                  <a:cubicBezTo>
                    <a:pt x="602870" y="116837"/>
                    <a:pt x="570371" y="72414"/>
                    <a:pt x="506318" y="36134"/>
                  </a:cubicBezTo>
                </a:path>
              </a:pathLst>
            </a:custGeom>
            <a:solidFill>
              <a:srgbClr val="FFFFFF"/>
            </a:solidFill>
            <a:ln w="119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15" name="Slide Number">
            <a:extLst>
              <a:ext uri="{FF2B5EF4-FFF2-40B4-BE49-F238E27FC236}">
                <a16:creationId xmlns:a16="http://schemas.microsoft.com/office/drawing/2014/main" id="{DB635840-B435-4634-9B60-6225D33CDE67}"/>
              </a:ext>
            </a:extLst>
          </p:cNvPr>
          <p:cNvSpPr>
            <a:spLocks noChangeArrowheads="1"/>
          </p:cNvSpPr>
          <p:nvPr userDrawn="1">
            <p:custDataLst>
              <p:tags r:id="rId8"/>
            </p:custDataLst>
          </p:nvPr>
        </p:nvSpPr>
        <p:spPr bwMode="black">
          <a:xfrm>
            <a:off x="11750644" y="6679868"/>
            <a:ext cx="325501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ct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8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ct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8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0E32073F-A162-44E5-B671-AEC9A129633A}"/>
              </a:ext>
            </a:extLst>
          </p:cNvPr>
          <p:cNvSpPr txBox="1"/>
          <p:nvPr userDrawn="1"/>
        </p:nvSpPr>
        <p:spPr>
          <a:xfrm>
            <a:off x="3252274" y="6679868"/>
            <a:ext cx="5687454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US" sz="800">
                <a:solidFill>
                  <a:srgbClr val="000000">
                    <a:lumMod val="65000"/>
                    <a:lumOff val="35000"/>
                  </a:srgbClr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©2021 Georgia-Pacific LLC. Confidential and Proprietary Information. Do not distribute or copy without prior consent. All rights reserved</a:t>
            </a:r>
          </a:p>
        </p:txBody>
      </p:sp>
    </p:spTree>
    <p:extLst>
      <p:ext uri="{BB962C8B-B14F-4D97-AF65-F5344CB8AC3E}">
        <p14:creationId xmlns:p14="http://schemas.microsoft.com/office/powerpoint/2010/main" val="227605918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976916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1725BD87-3C3D-45F6-BBCF-F06FD867659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solidFill>
            <a:srgbClr val="CEE6FA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2212"/>
            <a:ext cx="5065776" cy="384721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6" y="591912"/>
            <a:ext cx="5065776" cy="27699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1501840" y="6331418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E9BE4D1E-183A-499B-BFC7-798294EB7AE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B4437A68-A72E-4570-ACE8-D7F1AD47F4A2}"/>
              </a:ext>
            </a:extLst>
          </p:cNvPr>
          <p:cNvGrpSpPr/>
          <p:nvPr userDrawn="1"/>
        </p:nvGrpSpPr>
        <p:grpSpPr bwMode="ltGray">
          <a:xfrm>
            <a:off x="547365" y="6116479"/>
            <a:ext cx="1026382" cy="616486"/>
            <a:chOff x="17864" y="-3048674"/>
            <a:chExt cx="2768679" cy="1662981"/>
          </a:xfrm>
        </p:grpSpPr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13F069D3-6C50-4B5D-9C52-9383C133FF88}"/>
                </a:ext>
              </a:extLst>
            </p:cNvPr>
            <p:cNvSpPr/>
            <p:nvPr/>
          </p:nvSpPr>
          <p:spPr bwMode="ltGray">
            <a:xfrm>
              <a:off x="17864" y="-3048674"/>
              <a:ext cx="2768679" cy="1662981"/>
            </a:xfrm>
            <a:custGeom>
              <a:avLst/>
              <a:gdLst>
                <a:gd name="connsiteX0" fmla="*/ 1384449 w 2768679"/>
                <a:gd name="connsiteY0" fmla="*/ 0 h 1662981"/>
                <a:gd name="connsiteX1" fmla="*/ 2768680 w 2768679"/>
                <a:gd name="connsiteY1" fmla="*/ 1397245 h 1662981"/>
                <a:gd name="connsiteX2" fmla="*/ 1655784 w 2768679"/>
                <a:gd name="connsiteY2" fmla="*/ 1397245 h 1662981"/>
                <a:gd name="connsiteX3" fmla="*/ 1534512 w 2768679"/>
                <a:gd name="connsiteY3" fmla="*/ 1420511 h 1662981"/>
                <a:gd name="connsiteX4" fmla="*/ 1458826 w 2768679"/>
                <a:gd name="connsiteY4" fmla="*/ 1511246 h 1662981"/>
                <a:gd name="connsiteX5" fmla="*/ 1384449 w 2768679"/>
                <a:gd name="connsiteY5" fmla="*/ 1662982 h 1662981"/>
                <a:gd name="connsiteX6" fmla="*/ 1309926 w 2768679"/>
                <a:gd name="connsiteY6" fmla="*/ 1511246 h 1662981"/>
                <a:gd name="connsiteX7" fmla="*/ 1234240 w 2768679"/>
                <a:gd name="connsiteY7" fmla="*/ 1420511 h 1662981"/>
                <a:gd name="connsiteX8" fmla="*/ 1112968 w 2768679"/>
                <a:gd name="connsiteY8" fmla="*/ 1397245 h 1662981"/>
                <a:gd name="connsiteX9" fmla="*/ 0 w 2768679"/>
                <a:gd name="connsiteY9" fmla="*/ 1397245 h 1662981"/>
                <a:gd name="connsiteX10" fmla="*/ 1384449 w 2768679"/>
                <a:gd name="connsiteY10" fmla="*/ 0 h 16629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768679" h="1662981">
                  <a:moveTo>
                    <a:pt x="1384449" y="0"/>
                  </a:moveTo>
                  <a:lnTo>
                    <a:pt x="2768680" y="1397245"/>
                  </a:lnTo>
                  <a:cubicBezTo>
                    <a:pt x="2768680" y="1397245"/>
                    <a:pt x="1656147" y="1397245"/>
                    <a:pt x="1655784" y="1397245"/>
                  </a:cubicBezTo>
                  <a:cubicBezTo>
                    <a:pt x="1601328" y="1397245"/>
                    <a:pt x="1567011" y="1402625"/>
                    <a:pt x="1534512" y="1420511"/>
                  </a:cubicBezTo>
                  <a:cubicBezTo>
                    <a:pt x="1497142" y="1441086"/>
                    <a:pt x="1479692" y="1468423"/>
                    <a:pt x="1458826" y="1511246"/>
                  </a:cubicBezTo>
                  <a:cubicBezTo>
                    <a:pt x="1458899" y="1511319"/>
                    <a:pt x="1384449" y="1662982"/>
                    <a:pt x="1384449" y="1662982"/>
                  </a:cubicBezTo>
                  <a:cubicBezTo>
                    <a:pt x="1384449" y="1662982"/>
                    <a:pt x="1309854" y="1511319"/>
                    <a:pt x="1309926" y="1511246"/>
                  </a:cubicBezTo>
                  <a:cubicBezTo>
                    <a:pt x="1289060" y="1468423"/>
                    <a:pt x="1271611" y="1441086"/>
                    <a:pt x="1234240" y="1420511"/>
                  </a:cubicBezTo>
                  <a:cubicBezTo>
                    <a:pt x="1201741" y="1402625"/>
                    <a:pt x="1167424" y="1397245"/>
                    <a:pt x="1112968" y="1397245"/>
                  </a:cubicBezTo>
                  <a:cubicBezTo>
                    <a:pt x="1112605" y="1397245"/>
                    <a:pt x="0" y="1397245"/>
                    <a:pt x="0" y="1397245"/>
                  </a:cubicBezTo>
                  <a:lnTo>
                    <a:pt x="1384449" y="0"/>
                  </a:lnTo>
                </a:path>
              </a:pathLst>
            </a:custGeom>
            <a:solidFill>
              <a:srgbClr val="0E5D9D"/>
            </a:solidFill>
            <a:ln w="119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3934F93D-3C1B-4760-99FE-D27B06D206F5}"/>
                </a:ext>
              </a:extLst>
            </p:cNvPr>
            <p:cNvSpPr/>
            <p:nvPr/>
          </p:nvSpPr>
          <p:spPr bwMode="ltGray">
            <a:xfrm>
              <a:off x="688858" y="-2386985"/>
              <a:ext cx="673102" cy="637477"/>
            </a:xfrm>
            <a:custGeom>
              <a:avLst/>
              <a:gdLst>
                <a:gd name="connsiteX0" fmla="*/ 673103 w 673102"/>
                <a:gd name="connsiteY0" fmla="*/ 589710 h 637477"/>
                <a:gd name="connsiteX1" fmla="*/ 388390 w 673102"/>
                <a:gd name="connsiteY1" fmla="*/ 637478 h 637477"/>
                <a:gd name="connsiteX2" fmla="*/ 0 w 673102"/>
                <a:gd name="connsiteY2" fmla="*/ 323246 h 637477"/>
                <a:gd name="connsiteX3" fmla="*/ 394279 w 673102"/>
                <a:gd name="connsiteY3" fmla="*/ 0 h 637477"/>
                <a:gd name="connsiteX4" fmla="*/ 670486 w 673102"/>
                <a:gd name="connsiteY4" fmla="*/ 54165 h 637477"/>
                <a:gd name="connsiteX5" fmla="*/ 670486 w 673102"/>
                <a:gd name="connsiteY5" fmla="*/ 197249 h 637477"/>
                <a:gd name="connsiteX6" fmla="*/ 649910 w 673102"/>
                <a:gd name="connsiteY6" fmla="*/ 197249 h 637477"/>
                <a:gd name="connsiteX7" fmla="*/ 417108 w 673102"/>
                <a:gd name="connsiteY7" fmla="*/ 115092 h 637477"/>
                <a:gd name="connsiteX8" fmla="*/ 192014 w 673102"/>
                <a:gd name="connsiteY8" fmla="*/ 315467 h 637477"/>
                <a:gd name="connsiteX9" fmla="*/ 422707 w 673102"/>
                <a:gd name="connsiteY9" fmla="*/ 519695 h 637477"/>
                <a:gd name="connsiteX10" fmla="*/ 489014 w 673102"/>
                <a:gd name="connsiteY10" fmla="*/ 509371 h 637477"/>
                <a:gd name="connsiteX11" fmla="*/ 489014 w 673102"/>
                <a:gd name="connsiteY11" fmla="*/ 396460 h 637477"/>
                <a:gd name="connsiteX12" fmla="*/ 344185 w 673102"/>
                <a:gd name="connsiteY12" fmla="*/ 396460 h 637477"/>
                <a:gd name="connsiteX13" fmla="*/ 344185 w 673102"/>
                <a:gd name="connsiteY13" fmla="*/ 281368 h 637477"/>
                <a:gd name="connsiteX14" fmla="*/ 673103 w 673102"/>
                <a:gd name="connsiteY14" fmla="*/ 281368 h 637477"/>
                <a:gd name="connsiteX15" fmla="*/ 673103 w 673102"/>
                <a:gd name="connsiteY15" fmla="*/ 589710 h 6374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673102" h="637477">
                  <a:moveTo>
                    <a:pt x="673103" y="589710"/>
                  </a:moveTo>
                  <a:cubicBezTo>
                    <a:pt x="608032" y="611449"/>
                    <a:pt x="512061" y="637478"/>
                    <a:pt x="388390" y="637478"/>
                  </a:cubicBezTo>
                  <a:cubicBezTo>
                    <a:pt x="117927" y="637478"/>
                    <a:pt x="0" y="499483"/>
                    <a:pt x="0" y="323246"/>
                  </a:cubicBezTo>
                  <a:cubicBezTo>
                    <a:pt x="0" y="121054"/>
                    <a:pt x="160532" y="0"/>
                    <a:pt x="394279" y="0"/>
                  </a:cubicBezTo>
                  <a:cubicBezTo>
                    <a:pt x="516496" y="0"/>
                    <a:pt x="591164" y="21303"/>
                    <a:pt x="670486" y="54165"/>
                  </a:cubicBezTo>
                  <a:lnTo>
                    <a:pt x="670486" y="197249"/>
                  </a:lnTo>
                  <a:lnTo>
                    <a:pt x="649910" y="197249"/>
                  </a:lnTo>
                  <a:cubicBezTo>
                    <a:pt x="592546" y="153117"/>
                    <a:pt x="526529" y="115092"/>
                    <a:pt x="417108" y="115092"/>
                  </a:cubicBezTo>
                  <a:cubicBezTo>
                    <a:pt x="278969" y="115092"/>
                    <a:pt x="192014" y="191650"/>
                    <a:pt x="192014" y="315467"/>
                  </a:cubicBezTo>
                  <a:cubicBezTo>
                    <a:pt x="192014" y="424597"/>
                    <a:pt x="246324" y="525948"/>
                    <a:pt x="422707" y="519695"/>
                  </a:cubicBezTo>
                  <a:cubicBezTo>
                    <a:pt x="440374" y="519041"/>
                    <a:pt x="469819" y="515115"/>
                    <a:pt x="489014" y="509371"/>
                  </a:cubicBezTo>
                  <a:lnTo>
                    <a:pt x="489014" y="396460"/>
                  </a:lnTo>
                  <a:lnTo>
                    <a:pt x="344185" y="396460"/>
                  </a:lnTo>
                  <a:lnTo>
                    <a:pt x="344185" y="281368"/>
                  </a:lnTo>
                  <a:lnTo>
                    <a:pt x="673103" y="281368"/>
                  </a:lnTo>
                  <a:lnTo>
                    <a:pt x="673103" y="589710"/>
                  </a:lnTo>
                </a:path>
              </a:pathLst>
            </a:custGeom>
            <a:solidFill>
              <a:srgbClr val="FFFFFF"/>
            </a:solidFill>
            <a:ln w="119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B79844BC-F07F-4C44-A230-A5BA6CDE9369}"/>
                </a:ext>
              </a:extLst>
            </p:cNvPr>
            <p:cNvSpPr/>
            <p:nvPr/>
          </p:nvSpPr>
          <p:spPr bwMode="ltGray">
            <a:xfrm>
              <a:off x="1449207" y="-2373753"/>
              <a:ext cx="602869" cy="611158"/>
            </a:xfrm>
            <a:custGeom>
              <a:avLst/>
              <a:gdLst>
                <a:gd name="connsiteX0" fmla="*/ 413546 w 602869"/>
                <a:gd name="connsiteY0" fmla="*/ 202992 h 611158"/>
                <a:gd name="connsiteX1" fmla="*/ 364034 w 602869"/>
                <a:gd name="connsiteY1" fmla="*/ 281587 h 611158"/>
                <a:gd name="connsiteX2" fmla="*/ 274679 w 602869"/>
                <a:gd name="connsiteY2" fmla="*/ 296637 h 611158"/>
                <a:gd name="connsiteX3" fmla="*/ 184234 w 602869"/>
                <a:gd name="connsiteY3" fmla="*/ 296637 h 611158"/>
                <a:gd name="connsiteX4" fmla="*/ 184234 w 602869"/>
                <a:gd name="connsiteY4" fmla="*/ 114947 h 611158"/>
                <a:gd name="connsiteX5" fmla="*/ 274679 w 602869"/>
                <a:gd name="connsiteY5" fmla="*/ 114947 h 611158"/>
                <a:gd name="connsiteX6" fmla="*/ 364034 w 602869"/>
                <a:gd name="connsiteY6" fmla="*/ 127234 h 611158"/>
                <a:gd name="connsiteX7" fmla="*/ 413546 w 602869"/>
                <a:gd name="connsiteY7" fmla="*/ 202992 h 611158"/>
                <a:gd name="connsiteX8" fmla="*/ 506318 w 602869"/>
                <a:gd name="connsiteY8" fmla="*/ 36134 h 611158"/>
                <a:gd name="connsiteX9" fmla="*/ 316194 w 602869"/>
                <a:gd name="connsiteY9" fmla="*/ 0 h 611158"/>
                <a:gd name="connsiteX10" fmla="*/ 0 w 602869"/>
                <a:gd name="connsiteY10" fmla="*/ 0 h 611158"/>
                <a:gd name="connsiteX11" fmla="*/ 0 w 602869"/>
                <a:gd name="connsiteY11" fmla="*/ 611158 h 611158"/>
                <a:gd name="connsiteX12" fmla="*/ 184234 w 602869"/>
                <a:gd name="connsiteY12" fmla="*/ 611158 h 611158"/>
                <a:gd name="connsiteX13" fmla="*/ 184234 w 602869"/>
                <a:gd name="connsiteY13" fmla="*/ 411729 h 611158"/>
                <a:gd name="connsiteX14" fmla="*/ 311759 w 602869"/>
                <a:gd name="connsiteY14" fmla="*/ 411729 h 611158"/>
                <a:gd name="connsiteX15" fmla="*/ 505081 w 602869"/>
                <a:gd name="connsiteY15" fmla="*/ 372468 h 611158"/>
                <a:gd name="connsiteX16" fmla="*/ 602870 w 602869"/>
                <a:gd name="connsiteY16" fmla="*/ 192814 h 611158"/>
                <a:gd name="connsiteX17" fmla="*/ 506318 w 602869"/>
                <a:gd name="connsiteY17" fmla="*/ 36134 h 6111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602869" h="611158">
                  <a:moveTo>
                    <a:pt x="413546" y="202992"/>
                  </a:moveTo>
                  <a:cubicBezTo>
                    <a:pt x="413546" y="247561"/>
                    <a:pt x="389481" y="269808"/>
                    <a:pt x="364034" y="281587"/>
                  </a:cubicBezTo>
                  <a:cubicBezTo>
                    <a:pt x="340405" y="292492"/>
                    <a:pt x="305870" y="296637"/>
                    <a:pt x="274679" y="296637"/>
                  </a:cubicBezTo>
                  <a:lnTo>
                    <a:pt x="184234" y="296637"/>
                  </a:lnTo>
                  <a:lnTo>
                    <a:pt x="184234" y="114947"/>
                  </a:lnTo>
                  <a:lnTo>
                    <a:pt x="274679" y="114947"/>
                  </a:lnTo>
                  <a:cubicBezTo>
                    <a:pt x="305870" y="114947"/>
                    <a:pt x="340405" y="116401"/>
                    <a:pt x="364034" y="127234"/>
                  </a:cubicBezTo>
                  <a:cubicBezTo>
                    <a:pt x="389481" y="139012"/>
                    <a:pt x="413546" y="158570"/>
                    <a:pt x="413546" y="202992"/>
                  </a:cubicBezTo>
                  <a:close/>
                  <a:moveTo>
                    <a:pt x="506318" y="36134"/>
                  </a:moveTo>
                  <a:cubicBezTo>
                    <a:pt x="455933" y="7634"/>
                    <a:pt x="390498" y="0"/>
                    <a:pt x="316194" y="0"/>
                  </a:cubicBezTo>
                  <a:lnTo>
                    <a:pt x="0" y="0"/>
                  </a:lnTo>
                  <a:lnTo>
                    <a:pt x="0" y="611158"/>
                  </a:lnTo>
                  <a:lnTo>
                    <a:pt x="184234" y="611158"/>
                  </a:lnTo>
                  <a:lnTo>
                    <a:pt x="184234" y="411729"/>
                  </a:lnTo>
                  <a:lnTo>
                    <a:pt x="311759" y="411729"/>
                  </a:lnTo>
                  <a:cubicBezTo>
                    <a:pt x="383446" y="411729"/>
                    <a:pt x="450916" y="403149"/>
                    <a:pt x="505081" y="372468"/>
                  </a:cubicBezTo>
                  <a:cubicBezTo>
                    <a:pt x="568917" y="336261"/>
                    <a:pt x="602870" y="279551"/>
                    <a:pt x="602870" y="192814"/>
                  </a:cubicBezTo>
                  <a:cubicBezTo>
                    <a:pt x="602870" y="116837"/>
                    <a:pt x="570371" y="72414"/>
                    <a:pt x="506318" y="36134"/>
                  </a:cubicBezTo>
                </a:path>
              </a:pathLst>
            </a:custGeom>
            <a:solidFill>
              <a:srgbClr val="FFFFFF"/>
            </a:solidFill>
            <a:ln w="119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15" name="Slide Number">
            <a:extLst>
              <a:ext uri="{FF2B5EF4-FFF2-40B4-BE49-F238E27FC236}">
                <a16:creationId xmlns:a16="http://schemas.microsoft.com/office/drawing/2014/main" id="{71E886CD-5C69-4459-92D4-0F7B52AA83A1}"/>
              </a:ext>
            </a:extLst>
          </p:cNvPr>
          <p:cNvSpPr>
            <a:spLocks noChangeArrowheads="1"/>
          </p:cNvSpPr>
          <p:nvPr userDrawn="1">
            <p:custDataLst>
              <p:tags r:id="rId8"/>
            </p:custDataLst>
          </p:nvPr>
        </p:nvSpPr>
        <p:spPr bwMode="black">
          <a:xfrm>
            <a:off x="11750644" y="6679868"/>
            <a:ext cx="325501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ct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8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ct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8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EA0EB7E9-45F5-4712-8D58-02457CA82E1F}"/>
              </a:ext>
            </a:extLst>
          </p:cNvPr>
          <p:cNvSpPr txBox="1"/>
          <p:nvPr userDrawn="1"/>
        </p:nvSpPr>
        <p:spPr>
          <a:xfrm>
            <a:off x="3252274" y="6679868"/>
            <a:ext cx="5687454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US" sz="800">
                <a:solidFill>
                  <a:srgbClr val="000000">
                    <a:lumMod val="65000"/>
                    <a:lumOff val="35000"/>
                  </a:srgbClr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©2021 Georgia-Pacific LLC. Confidential and Proprietary Information. Do not distribute or copy without prior consent. All rights reserved</a:t>
            </a:r>
          </a:p>
        </p:txBody>
      </p:sp>
    </p:spTree>
    <p:extLst>
      <p:ext uri="{BB962C8B-B14F-4D97-AF65-F5344CB8AC3E}">
        <p14:creationId xmlns:p14="http://schemas.microsoft.com/office/powerpoint/2010/main" val="123149247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ags" Target="../tags/tag4.xml"/><Relationship Id="rId39" Type="http://schemas.openxmlformats.org/officeDocument/2006/relationships/tags" Target="../tags/tag17.xml"/><Relationship Id="rId21" Type="http://schemas.openxmlformats.org/officeDocument/2006/relationships/slideLayout" Target="../slideLayouts/slideLayout21.xml"/><Relationship Id="rId34" Type="http://schemas.openxmlformats.org/officeDocument/2006/relationships/tags" Target="../tags/tag12.xml"/><Relationship Id="rId42" Type="http://schemas.openxmlformats.org/officeDocument/2006/relationships/tags" Target="../tags/tag20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tags" Target="../tags/tag7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2.xml"/><Relationship Id="rId32" Type="http://schemas.openxmlformats.org/officeDocument/2006/relationships/tags" Target="../tags/tag10.xml"/><Relationship Id="rId37" Type="http://schemas.openxmlformats.org/officeDocument/2006/relationships/tags" Target="../tags/tag15.xml"/><Relationship Id="rId40" Type="http://schemas.openxmlformats.org/officeDocument/2006/relationships/tags" Target="../tags/tag18.xml"/><Relationship Id="rId45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heme" Target="../theme/theme1.xml"/><Relationship Id="rId28" Type="http://schemas.openxmlformats.org/officeDocument/2006/relationships/tags" Target="../tags/tag6.xml"/><Relationship Id="rId36" Type="http://schemas.openxmlformats.org/officeDocument/2006/relationships/tags" Target="../tags/tag14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tags" Target="../tags/tag9.xml"/><Relationship Id="rId44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ags" Target="../tags/tag5.xml"/><Relationship Id="rId30" Type="http://schemas.openxmlformats.org/officeDocument/2006/relationships/tags" Target="../tags/tag8.xml"/><Relationship Id="rId35" Type="http://schemas.openxmlformats.org/officeDocument/2006/relationships/tags" Target="../tags/tag13.xml"/><Relationship Id="rId43" Type="http://schemas.openxmlformats.org/officeDocument/2006/relationships/tags" Target="../tags/tag21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ags" Target="../tags/tag3.xml"/><Relationship Id="rId33" Type="http://schemas.openxmlformats.org/officeDocument/2006/relationships/tags" Target="../tags/tag11.xml"/><Relationship Id="rId38" Type="http://schemas.openxmlformats.org/officeDocument/2006/relationships/tags" Target="../tags/tag16.xml"/><Relationship Id="rId20" Type="http://schemas.openxmlformats.org/officeDocument/2006/relationships/slideLayout" Target="../slideLayouts/slideLayout20.xml"/><Relationship Id="rId41" Type="http://schemas.openxmlformats.org/officeDocument/2006/relationships/tags" Target="../tags/tag1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4BC40847-AF8B-4097-9A07-2349A751A0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4"/>
            </p:custDataLst>
            <p:extLst>
              <p:ext uri="{D42A27DB-BD31-4B8C-83A1-F6EECF244321}">
                <p14:modId xmlns:p14="http://schemas.microsoft.com/office/powerpoint/2010/main" val="31573506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4" imgW="413" imgH="416" progId="TCLayout.ActiveDocument.1">
                  <p:embed/>
                </p:oleObj>
              </mc:Choice>
              <mc:Fallback>
                <p:oleObj name="think-cell Slide" r:id="rId44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4BC40847-AF8B-4097-9A07-2349A751A0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5B28737-798E-48D4-BBDB-8EB35CB9FFFB}"/>
              </a:ext>
            </a:extLst>
          </p:cNvPr>
          <p:cNvSpPr/>
          <p:nvPr userDrawn="1">
            <p:custDataLst>
              <p:tags r:id="rId2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16" name="4. Footnote" hidden="1">
            <a:extLst>
              <a:ext uri="{FF2B5EF4-FFF2-40B4-BE49-F238E27FC236}">
                <a16:creationId xmlns:a16="http://schemas.microsoft.com/office/drawing/2014/main" id="{772E4927-517C-4D61-9929-9FFDE5F31A03}"/>
              </a:ext>
            </a:extLst>
          </p:cNvPr>
          <p:cNvSpPr txBox="1"/>
          <p:nvPr userDrawn="1">
            <p:custDataLst>
              <p:tags r:id="rId26"/>
            </p:custDataLst>
          </p:nvPr>
        </p:nvSpPr>
        <p:spPr>
          <a:xfrm>
            <a:off x="1501077" y="6111064"/>
            <a:ext cx="727862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>
            <a:defPPr>
              <a:defRPr lang="en-US"/>
            </a:defPPr>
            <a:lvl1pPr marL="203200" marR="0" lvl="0" indent="-21272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Footnotes</a:t>
            </a:r>
          </a:p>
        </p:txBody>
      </p:sp>
      <p:sp>
        <p:nvSpPr>
          <p:cNvPr id="57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/>
            <p:custDataLst>
              <p:tags r:id="rId27"/>
            </p:custDataLst>
          </p:nvPr>
        </p:nvSpPr>
        <p:spPr>
          <a:xfrm>
            <a:off x="554736" y="172212"/>
            <a:ext cx="11082528" cy="38472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grpSp>
        <p:nvGrpSpPr>
          <p:cNvPr id="59" name="Grid" hidden="1">
            <a:extLst>
              <a:ext uri="{FF2B5EF4-FFF2-40B4-BE49-F238E27FC236}">
                <a16:creationId xmlns:a16="http://schemas.microsoft.com/office/drawing/2014/main" id="{D35250B8-D61E-4F1A-9ACD-6E1BB958B78E}"/>
              </a:ext>
            </a:extLst>
          </p:cNvPr>
          <p:cNvGrpSpPr/>
          <p:nvPr userDrawn="1"/>
        </p:nvGrpSpPr>
        <p:grpSpPr>
          <a:xfrm>
            <a:off x="0" y="0"/>
            <a:ext cx="12190476" cy="6858000"/>
            <a:chOff x="0" y="0"/>
            <a:chExt cx="12190476" cy="6858000"/>
          </a:xfrm>
        </p:grpSpPr>
        <p:sp>
          <p:nvSpPr>
            <p:cNvPr id="60" name="slide margin">
              <a:extLst>
                <a:ext uri="{FF2B5EF4-FFF2-40B4-BE49-F238E27FC236}">
                  <a16:creationId xmlns:a16="http://schemas.microsoft.com/office/drawing/2014/main" id="{B96EBE04-E01D-4922-8601-F1AD43DC4DA0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5CA037B0-2A91-4357-A969-80F65F949266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1BD7C67-EF90-4AA0-BA50-51299E7EEE4C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7719564A-5227-44A7-ABC0-4C6BBC1E2D6F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0FD85D0C-74E8-4603-86B8-FCC481122CE8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7F8BF8BD-68B4-4717-8162-382FFCC9BC9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89DB0B65-FCD8-4DD7-833A-DEED6A420E2A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E18151F3-D51F-4302-95BF-AE8E806F628D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35A6B330-5ACC-486B-8131-B7F5407825B2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DA5DE7AD-CCFE-4A85-9421-C7CEA9F80DEC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6E2A9A81-75D1-41A9-9821-54FC36E753C1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86FE52AA-2DD1-4D00-A984-41CDC38B2D7F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85C9FC50-7177-43E6-9E56-DC9A2E6B7E6E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BC97F85A-62E2-4591-B8D0-4F068B177B5D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7F4B967A-CF91-473D-8A35-2BE771F9F59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5AC41621-77EA-4492-8E68-0BE34108294A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31A06AD2-A9EA-45D9-B15C-089884A54107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A7B39CC-379F-4224-9E59-81B1690088A0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F8002ACB-1459-4214-B28A-B38E8A1FF8A6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71D59E94-AA3C-4DE0-8345-20C71667A205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5805F09B-786C-43E4-8288-B1AAF94C8ADE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5FB23B6E-567C-4896-8B32-DA4C452B4AE7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9B792231-972E-4476-BAF2-761E10463BA8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908370B7-3D11-4F78-B977-D8F0DE2694ED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C11EA99D-D15D-43C2-BF4E-36554B346AB6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3A72B2F6-0AFF-4E6E-AFFF-60767DB3FA63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A68F8E74-3AE4-4AF9-9F36-63344C9076D2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31D5F169-E1D4-48A3-AE5B-F5F1BEF2E7CF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4230F928-F9B2-4955-9800-74DE09DCE6F2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37C829A9-6808-4531-8C12-A84988E6DEE1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7FA5964C-E9C5-4C2F-BD6E-47BAFB5B6D17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3C168D8D-76CE-4BE5-BE95-79B96300EA3F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6749465C-813A-45F9-8C3E-5D06C8584929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53894C26-2473-4C24-B082-48DD1E92241C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BFDA0320-8435-46CA-B1B3-5203F54A419F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A42721E4-5D12-459C-AC2E-7CE148AF9062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8BF7D46B-3779-49D0-BCB4-F2DCE091958D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634464F0-BD7F-4488-85F0-EC20C24BECA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82B54541-0CDD-4724-8101-AABFF1207033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45070398-8D55-4EE2-8CA4-47428E2AF03F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42166891-56D0-4EBC-B681-501401DEF9D4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C13A87E3-D106-41FF-A8CD-C27DABF0103D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2164477D-838D-4C70-ADD7-37AD79A844AA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72B193C0-8980-4BB2-8E91-7A1C9ABE0B6C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C1A94AAA-1D98-4233-842E-2A2F52812358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E21F2B43-A2DC-42F4-8EA4-A8A4DA6D6FA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A60F0923-6896-405D-AD16-F097448F3E3D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BC70D5B1-47D7-451F-B83A-973A26731A22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3FD9A464-81FE-4829-A1C5-5CCEE42448B3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8F55CAB0-53A2-417F-9F66-C0437933E98B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1547EE77-7495-47CB-BEC9-D5C742DF2B2C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CA942184-696A-4A78-BB9D-3D619B990987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1B5F4EE6-4D4C-4488-80DE-36C83D54076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CD3A42E3-1ED2-4BBE-8B0B-CEA491522F0A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94162AD8-9037-4220-B19F-7B3A0F44E941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4C20FB70-03E4-4D7E-BA41-546EAAB33089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84D3C92-FDAE-47DB-9457-A9B216922E98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B5DF0860-265F-4ABC-9F65-0C1D385DAA19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D878D1D5-E6E5-4FA6-AF6E-95E8AF796777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E11FF29A-4B39-4335-9BD5-ED902309BF79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3A82A803-5E70-4523-9F20-67F308765C7E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B4208CB2-5882-4416-87C9-284BDAF3367A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BD4116CD-6422-4E26-9703-D3F7C10FCD56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31AB3A35-E2FF-4178-896B-F08E77092825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79C539-DD6F-48AA-8F80-27BC682014AF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2784004E-3271-4D1C-B1EA-CA1E334E0D03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3657725E-FBF6-491D-9BA1-E6A9727F4F2D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31244567-76A7-47AF-9353-403D05D533F0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EEC47A2A-ED3B-4AD0-ACD5-F8ED92644229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0F3E01E5-F569-4020-BCB0-083537701AB0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71121A42-5912-44C8-B9A3-FDEC8EA70284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59B1DE7-25C8-4743-8284-FA656D339F55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526249F1-59FB-44FC-8AF9-D7F90AFBEE2C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E6D42779-D977-4405-A149-D8DE5B52134A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27EE8A2F-6AD9-4AE7-B04B-7892891F84AC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B8F4A59A-16C3-4C3A-AB79-FE22721EA641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5CA3A6CC-1A49-42F6-A318-99D9224BDC91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2DC3484E-5EF8-49C4-B1F6-75C854D50C80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Straight Connector 140">
              <a:extLst>
                <a:ext uri="{FF2B5EF4-FFF2-40B4-BE49-F238E27FC236}">
                  <a16:creationId xmlns:a16="http://schemas.microsoft.com/office/drawing/2014/main" id="{33461A54-E77E-414D-B7E0-7364070D9566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29C48517-171B-43FD-A41C-58C9B531BDB5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F429932A-1238-48FC-B171-20A3AA531D40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Straight Connector 143">
              <a:extLst>
                <a:ext uri="{FF2B5EF4-FFF2-40B4-BE49-F238E27FC236}">
                  <a16:creationId xmlns:a16="http://schemas.microsoft.com/office/drawing/2014/main" id="{7BED7651-AF04-41D4-9476-5A43476D85BB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5" name="main body box">
              <a:extLst>
                <a:ext uri="{FF2B5EF4-FFF2-40B4-BE49-F238E27FC236}">
                  <a16:creationId xmlns:a16="http://schemas.microsoft.com/office/drawing/2014/main" id="{100DE417-9DB9-4840-8370-B716FFA2776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46" name="Straight Connector 145">
              <a:extLst>
                <a:ext uri="{FF2B5EF4-FFF2-40B4-BE49-F238E27FC236}">
                  <a16:creationId xmlns:a16="http://schemas.microsoft.com/office/drawing/2014/main" id="{B93A1E2B-8C80-482F-83BE-384344D09839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7" name="Straight Connector 146">
              <a:extLst>
                <a:ext uri="{FF2B5EF4-FFF2-40B4-BE49-F238E27FC236}">
                  <a16:creationId xmlns:a16="http://schemas.microsoft.com/office/drawing/2014/main" id="{BEAB22C5-0A46-4041-9158-6DC76EA2F350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sp>
        <p:nvSpPr>
          <p:cNvPr id="4" name="Sticker" hidden="1">
            <a:extLst>
              <a:ext uri="{FF2B5EF4-FFF2-40B4-BE49-F238E27FC236}">
                <a16:creationId xmlns:a16="http://schemas.microsoft.com/office/drawing/2014/main" id="{F9BB011A-568C-4B05-AE57-EB000B2FD8BB}"/>
              </a:ext>
            </a:extLst>
          </p:cNvPr>
          <p:cNvSpPr txBox="1"/>
          <p:nvPr userDrawn="1"/>
        </p:nvSpPr>
        <p:spPr>
          <a:xfrm>
            <a:off x="554736" y="917798"/>
            <a:ext cx="450444" cy="12311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>
            <a:defPPr>
              <a:defRPr lang="en-US"/>
            </a:defPPr>
            <a:lvl1pPr>
              <a:spcBef>
                <a:spcPts val="300"/>
              </a:spcBef>
              <a:spcAft>
                <a:spcPts val="300"/>
              </a:spcAft>
              <a:buNone/>
              <a:defRPr sz="800" b="1" cap="all" baseline="0"/>
            </a:lvl1pPr>
          </a:lstStyle>
          <a:p>
            <a:pPr lvl="0"/>
            <a:r>
              <a:rPr lang="en-US"/>
              <a:t>STICKER</a:t>
            </a:r>
          </a:p>
        </p:txBody>
      </p:sp>
      <p:sp>
        <p:nvSpPr>
          <p:cNvPr id="169" name="ACET" hidden="1">
            <a:extLst>
              <a:ext uri="{FF2B5EF4-FFF2-40B4-BE49-F238E27FC236}">
                <a16:creationId xmlns:a16="http://schemas.microsoft.com/office/drawing/2014/main" id="{62CF7362-20CB-4908-AFFE-D4E2B9A5DF3B}"/>
              </a:ext>
            </a:extLst>
          </p:cNvPr>
          <p:cNvSpPr txBox="1"/>
          <p:nvPr userDrawn="1">
            <p:custDataLst>
              <p:tags r:id="rId28"/>
            </p:custDataLst>
          </p:nvPr>
        </p:nvSpPr>
        <p:spPr>
          <a:xfrm>
            <a:off x="554736" y="2170800"/>
            <a:ext cx="2437655" cy="461665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Segoe UI" panose="020B0502040204020203" pitchFamily="34" charset="0"/>
              <a:buChar char="​"/>
              <a:defRPr sz="1600" b="1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Wingdings" panose="05000000000000000000" pitchFamily="2" charset="2"/>
              <a:buChar char=""/>
              <a:defRPr sz="1600"/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Arial" panose="020B0604020202020204" pitchFamily="34" charset="0"/>
              <a:buChar char="‒"/>
              <a:defRPr sz="1600"/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600"/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̶"/>
              <a:defRPr sz="160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/>
              <a:t>Above Chart Exhibit Title</a:t>
            </a:r>
            <a:br>
              <a:rPr lang="en-US"/>
            </a:br>
            <a:r>
              <a:rPr lang="en-US" sz="1400" b="0"/>
              <a:t>Unit of Measur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C1F3293-4EFE-461D-940D-7EE66BAE31C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4736" y="2170800"/>
            <a:ext cx="2484655" cy="138499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170" name="LegendLines" hidden="1">
            <a:extLst>
              <a:ext uri="{FF2B5EF4-FFF2-40B4-BE49-F238E27FC236}">
                <a16:creationId xmlns:a16="http://schemas.microsoft.com/office/drawing/2014/main" id="{9BE8FFB2-ED1A-4DA5-B35B-4638F065D610}"/>
              </a:ext>
            </a:extLst>
          </p:cNvPr>
          <p:cNvGrpSpPr/>
          <p:nvPr userDrawn="1"/>
        </p:nvGrpSpPr>
        <p:grpSpPr>
          <a:xfrm>
            <a:off x="10317304" y="3150223"/>
            <a:ext cx="1319960" cy="958286"/>
            <a:chOff x="10162879" y="3243772"/>
            <a:chExt cx="1319960" cy="958286"/>
          </a:xfrm>
        </p:grpSpPr>
        <p:sp>
          <p:nvSpPr>
            <p:cNvPr id="171" name="Legend1">
              <a:extLst>
                <a:ext uri="{FF2B5EF4-FFF2-40B4-BE49-F238E27FC236}">
                  <a16:creationId xmlns:a16="http://schemas.microsoft.com/office/drawing/2014/main" id="{F4777C54-05D5-4D85-8C66-87DACC324AFE}"/>
                </a:ext>
              </a:extLst>
            </p:cNvPr>
            <p:cNvSpPr txBox="1"/>
            <p:nvPr/>
          </p:nvSpPr>
          <p:spPr>
            <a:xfrm>
              <a:off x="10886522" y="3243772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72" name="Legend2">
              <a:extLst>
                <a:ext uri="{FF2B5EF4-FFF2-40B4-BE49-F238E27FC236}">
                  <a16:creationId xmlns:a16="http://schemas.microsoft.com/office/drawing/2014/main" id="{0D4CECC3-0534-4DF1-866D-D89C37CA94D0}"/>
                </a:ext>
              </a:extLst>
            </p:cNvPr>
            <p:cNvSpPr txBox="1"/>
            <p:nvPr/>
          </p:nvSpPr>
          <p:spPr>
            <a:xfrm>
              <a:off x="10886522" y="3615193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73" name="Legend3">
              <a:extLst>
                <a:ext uri="{FF2B5EF4-FFF2-40B4-BE49-F238E27FC236}">
                  <a16:creationId xmlns:a16="http://schemas.microsoft.com/office/drawing/2014/main" id="{8EBF9370-367D-4EA5-9650-A8192C067695}"/>
                </a:ext>
              </a:extLst>
            </p:cNvPr>
            <p:cNvSpPr txBox="1"/>
            <p:nvPr/>
          </p:nvSpPr>
          <p:spPr>
            <a:xfrm>
              <a:off x="10886522" y="398661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74" name="LineLegend3">
              <a:extLst>
                <a:ext uri="{FF2B5EF4-FFF2-40B4-BE49-F238E27FC236}">
                  <a16:creationId xmlns:a16="http://schemas.microsoft.com/office/drawing/2014/main" id="{F851C030-60CC-4FCA-8469-276087EA26E5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409278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400" baseline="0">
                <a:ea typeface="+mn-ea"/>
              </a:endParaRPr>
            </a:p>
          </p:txBody>
        </p:sp>
        <p:sp>
          <p:nvSpPr>
            <p:cNvPr id="175" name="LineLegend2">
              <a:extLst>
                <a:ext uri="{FF2B5EF4-FFF2-40B4-BE49-F238E27FC236}">
                  <a16:creationId xmlns:a16="http://schemas.microsoft.com/office/drawing/2014/main" id="{B740A3D2-B5B9-4486-835A-7EB56BC0B6BC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719425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400" baseline="0">
                <a:ea typeface="+mn-ea"/>
              </a:endParaRPr>
            </a:p>
          </p:txBody>
        </p:sp>
        <p:sp>
          <p:nvSpPr>
            <p:cNvPr id="176" name="LineLegend1">
              <a:extLst>
                <a:ext uri="{FF2B5EF4-FFF2-40B4-BE49-F238E27FC236}">
                  <a16:creationId xmlns:a16="http://schemas.microsoft.com/office/drawing/2014/main" id="{1CFD9884-F6CB-4F78-B164-BFE94EB68BB3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35149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400" baseline="0">
                <a:ea typeface="+mn-ea"/>
              </a:endParaRPr>
            </a:p>
          </p:txBody>
        </p:sp>
      </p:grpSp>
      <p:grpSp>
        <p:nvGrpSpPr>
          <p:cNvPr id="177" name="LegendMoons" hidden="1">
            <a:extLst>
              <a:ext uri="{FF2B5EF4-FFF2-40B4-BE49-F238E27FC236}">
                <a16:creationId xmlns:a16="http://schemas.microsoft.com/office/drawing/2014/main" id="{20ACA31A-EBEB-44B0-9534-4954E640347F}"/>
              </a:ext>
            </a:extLst>
          </p:cNvPr>
          <p:cNvGrpSpPr/>
          <p:nvPr userDrawn="1"/>
        </p:nvGrpSpPr>
        <p:grpSpPr>
          <a:xfrm>
            <a:off x="10688315" y="1145373"/>
            <a:ext cx="948949" cy="1731859"/>
            <a:chOff x="7723680" y="1702457"/>
            <a:chExt cx="948949" cy="1731859"/>
          </a:xfrm>
        </p:grpSpPr>
        <p:sp>
          <p:nvSpPr>
            <p:cNvPr id="178" name="Legend1">
              <a:extLst>
                <a:ext uri="{FF2B5EF4-FFF2-40B4-BE49-F238E27FC236}">
                  <a16:creationId xmlns:a16="http://schemas.microsoft.com/office/drawing/2014/main" id="{7DC05171-CE46-40FF-A3C0-7D6288C5669B}"/>
                </a:ext>
              </a:extLst>
            </p:cNvPr>
            <p:cNvSpPr txBox="1"/>
            <p:nvPr/>
          </p:nvSpPr>
          <p:spPr>
            <a:xfrm>
              <a:off x="8076312" y="1709816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86" name="Legend2">
              <a:extLst>
                <a:ext uri="{FF2B5EF4-FFF2-40B4-BE49-F238E27FC236}">
                  <a16:creationId xmlns:a16="http://schemas.microsoft.com/office/drawing/2014/main" id="{55C6E9E9-FF0E-432A-9B84-E97DD234239C}"/>
                </a:ext>
              </a:extLst>
            </p:cNvPr>
            <p:cNvSpPr txBox="1"/>
            <p:nvPr/>
          </p:nvSpPr>
          <p:spPr>
            <a:xfrm>
              <a:off x="8076312" y="2085275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98" name="Legend3">
              <a:extLst>
                <a:ext uri="{FF2B5EF4-FFF2-40B4-BE49-F238E27FC236}">
                  <a16:creationId xmlns:a16="http://schemas.microsoft.com/office/drawing/2014/main" id="{1F922A36-0DC3-40E9-AA33-062092CCE2CA}"/>
                </a:ext>
              </a:extLst>
            </p:cNvPr>
            <p:cNvSpPr txBox="1"/>
            <p:nvPr/>
          </p:nvSpPr>
          <p:spPr>
            <a:xfrm>
              <a:off x="8076312" y="246073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99" name="Legend4">
              <a:extLst>
                <a:ext uri="{FF2B5EF4-FFF2-40B4-BE49-F238E27FC236}">
                  <a16:creationId xmlns:a16="http://schemas.microsoft.com/office/drawing/2014/main" id="{5BD4E972-91E5-46CE-BD9A-D96F02CCE803}"/>
                </a:ext>
              </a:extLst>
            </p:cNvPr>
            <p:cNvSpPr txBox="1"/>
            <p:nvPr/>
          </p:nvSpPr>
          <p:spPr>
            <a:xfrm>
              <a:off x="8076312" y="2836193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200" name="Legend5">
              <a:extLst>
                <a:ext uri="{FF2B5EF4-FFF2-40B4-BE49-F238E27FC236}">
                  <a16:creationId xmlns:a16="http://schemas.microsoft.com/office/drawing/2014/main" id="{1805B594-6FD7-4BF2-AD8B-51C7B5B9FB60}"/>
                </a:ext>
              </a:extLst>
            </p:cNvPr>
            <p:cNvSpPr txBox="1"/>
            <p:nvPr/>
          </p:nvSpPr>
          <p:spPr>
            <a:xfrm>
              <a:off x="8076312" y="321165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grpSp>
          <p:nvGrpSpPr>
            <p:cNvPr id="201" name="MoonLegend1">
              <a:extLst>
                <a:ext uri="{FF2B5EF4-FFF2-40B4-BE49-F238E27FC236}">
                  <a16:creationId xmlns:a16="http://schemas.microsoft.com/office/drawing/2014/main" id="{D449C9F2-BEA3-40FA-A464-A9D4E9678397}"/>
                </a:ext>
              </a:extLst>
            </p:cNvPr>
            <p:cNvGrpSpPr>
              <a:grpSpLocks noChangeAspect="1"/>
            </p:cNvGrpSpPr>
            <p:nvPr>
              <p:custDataLst>
                <p:tags r:id="rId29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214" name="Oval 213">
                <a:extLst>
                  <a:ext uri="{FF2B5EF4-FFF2-40B4-BE49-F238E27FC236}">
                    <a16:creationId xmlns:a16="http://schemas.microsoft.com/office/drawing/2014/main" id="{C2E35939-353E-4E37-B5E1-41695F47D97F}"/>
                  </a:ext>
                </a:extLst>
              </p:cNvPr>
              <p:cNvSpPr/>
              <p:nvPr>
                <p:custDataLst>
                  <p:tags r:id="rId4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>
                  <a:solidFill>
                    <a:schemeClr val="tx1"/>
                  </a:solidFill>
                </a:endParaRPr>
              </a:p>
            </p:txBody>
          </p:sp>
          <p:sp>
            <p:nvSpPr>
              <p:cNvPr id="215" name="Arc 214">
                <a:extLst>
                  <a:ext uri="{FF2B5EF4-FFF2-40B4-BE49-F238E27FC236}">
                    <a16:creationId xmlns:a16="http://schemas.microsoft.com/office/drawing/2014/main" id="{0B8BBED7-720B-47B5-872C-F999EC2288C0}"/>
                  </a:ext>
                </a:extLst>
              </p:cNvPr>
              <p:cNvSpPr/>
              <p:nvPr>
                <p:custDataLst>
                  <p:tags r:id="rId4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/>
              </a:p>
            </p:txBody>
          </p:sp>
        </p:grpSp>
        <p:grpSp>
          <p:nvGrpSpPr>
            <p:cNvPr id="202" name="MoonLegend2">
              <a:extLst>
                <a:ext uri="{FF2B5EF4-FFF2-40B4-BE49-F238E27FC236}">
                  <a16:creationId xmlns:a16="http://schemas.microsoft.com/office/drawing/2014/main" id="{541C4EF6-9004-4183-B574-AFD44AC5EA5D}"/>
                </a:ext>
              </a:extLst>
            </p:cNvPr>
            <p:cNvGrpSpPr>
              <a:grpSpLocks noChangeAspect="1"/>
            </p:cNvGrpSpPr>
            <p:nvPr>
              <p:custDataLst>
                <p:tags r:id="rId30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212" name="Oval 211">
                <a:extLst>
                  <a:ext uri="{FF2B5EF4-FFF2-40B4-BE49-F238E27FC236}">
                    <a16:creationId xmlns:a16="http://schemas.microsoft.com/office/drawing/2014/main" id="{5CCA82A7-7FA1-4B6D-8B78-68A7BED3B736}"/>
                  </a:ext>
                </a:extLst>
              </p:cNvPr>
              <p:cNvSpPr/>
              <p:nvPr>
                <p:custDataLst>
                  <p:tags r:id="rId4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>
                  <a:solidFill>
                    <a:schemeClr val="tx1"/>
                  </a:solidFill>
                </a:endParaRPr>
              </a:p>
            </p:txBody>
          </p:sp>
          <p:sp>
            <p:nvSpPr>
              <p:cNvPr id="213" name="Arc 212">
                <a:extLst>
                  <a:ext uri="{FF2B5EF4-FFF2-40B4-BE49-F238E27FC236}">
                    <a16:creationId xmlns:a16="http://schemas.microsoft.com/office/drawing/2014/main" id="{8938453D-31F4-465E-8D29-7E73DBF581A7}"/>
                  </a:ext>
                </a:extLst>
              </p:cNvPr>
              <p:cNvSpPr/>
              <p:nvPr>
                <p:custDataLst>
                  <p:tags r:id="rId4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/>
              </a:p>
            </p:txBody>
          </p:sp>
        </p:grpSp>
        <p:grpSp>
          <p:nvGrpSpPr>
            <p:cNvPr id="203" name="MoonLegend3">
              <a:extLst>
                <a:ext uri="{FF2B5EF4-FFF2-40B4-BE49-F238E27FC236}">
                  <a16:creationId xmlns:a16="http://schemas.microsoft.com/office/drawing/2014/main" id="{BED1CD13-DEFC-405A-95BD-C039230CF62B}"/>
                </a:ext>
              </a:extLst>
            </p:cNvPr>
            <p:cNvGrpSpPr>
              <a:grpSpLocks noChangeAspect="1"/>
            </p:cNvGrpSpPr>
            <p:nvPr>
              <p:custDataLst>
                <p:tags r:id="rId31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210" name="Oval 209">
                <a:extLst>
                  <a:ext uri="{FF2B5EF4-FFF2-40B4-BE49-F238E27FC236}">
                    <a16:creationId xmlns:a16="http://schemas.microsoft.com/office/drawing/2014/main" id="{F357ECE6-9F7A-44F6-9E04-35416B1691E8}"/>
                  </a:ext>
                </a:extLst>
              </p:cNvPr>
              <p:cNvSpPr/>
              <p:nvPr>
                <p:custDataLst>
                  <p:tags r:id="rId3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>
                  <a:solidFill>
                    <a:schemeClr val="tx1"/>
                  </a:solidFill>
                </a:endParaRPr>
              </a:p>
            </p:txBody>
          </p:sp>
          <p:sp>
            <p:nvSpPr>
              <p:cNvPr id="211" name="Arc 210">
                <a:extLst>
                  <a:ext uri="{FF2B5EF4-FFF2-40B4-BE49-F238E27FC236}">
                    <a16:creationId xmlns:a16="http://schemas.microsoft.com/office/drawing/2014/main" id="{61C31A74-B4CF-494D-A5B7-A2DC7375C32F}"/>
                  </a:ext>
                </a:extLst>
              </p:cNvPr>
              <p:cNvSpPr/>
              <p:nvPr>
                <p:custDataLst>
                  <p:tags r:id="rId3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/>
              </a:p>
            </p:txBody>
          </p:sp>
        </p:grpSp>
        <p:grpSp>
          <p:nvGrpSpPr>
            <p:cNvPr id="204" name="MoonLegend4">
              <a:extLst>
                <a:ext uri="{FF2B5EF4-FFF2-40B4-BE49-F238E27FC236}">
                  <a16:creationId xmlns:a16="http://schemas.microsoft.com/office/drawing/2014/main" id="{8685B9E4-AB94-4DB0-A343-F6510E2A87CE}"/>
                </a:ext>
              </a:extLst>
            </p:cNvPr>
            <p:cNvGrpSpPr>
              <a:grpSpLocks noChangeAspect="1"/>
            </p:cNvGrpSpPr>
            <p:nvPr>
              <p:custDataLst>
                <p:tags r:id="rId32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208" name="Oval 207">
                <a:extLst>
                  <a:ext uri="{FF2B5EF4-FFF2-40B4-BE49-F238E27FC236}">
                    <a16:creationId xmlns:a16="http://schemas.microsoft.com/office/drawing/2014/main" id="{085192EF-7EAA-4A4D-ACFF-6218BBA4D80B}"/>
                  </a:ext>
                </a:extLst>
              </p:cNvPr>
              <p:cNvSpPr/>
              <p:nvPr>
                <p:custDataLst>
                  <p:tags r:id="rId3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>
                  <a:solidFill>
                    <a:schemeClr val="tx1"/>
                  </a:solidFill>
                </a:endParaRPr>
              </a:p>
            </p:txBody>
          </p:sp>
          <p:sp>
            <p:nvSpPr>
              <p:cNvPr id="209" name="Arc 208">
                <a:extLst>
                  <a:ext uri="{FF2B5EF4-FFF2-40B4-BE49-F238E27FC236}">
                    <a16:creationId xmlns:a16="http://schemas.microsoft.com/office/drawing/2014/main" id="{A4CA4248-E892-4FB5-B48B-AD5B593D96B5}"/>
                  </a:ext>
                </a:extLst>
              </p:cNvPr>
              <p:cNvSpPr/>
              <p:nvPr>
                <p:custDataLst>
                  <p:tags r:id="rId3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/>
              </a:p>
            </p:txBody>
          </p:sp>
        </p:grpSp>
        <p:grpSp>
          <p:nvGrpSpPr>
            <p:cNvPr id="205" name="MoonLegend5">
              <a:extLst>
                <a:ext uri="{FF2B5EF4-FFF2-40B4-BE49-F238E27FC236}">
                  <a16:creationId xmlns:a16="http://schemas.microsoft.com/office/drawing/2014/main" id="{1F2CA276-A615-4E77-9230-E6DF629BBC5A}"/>
                </a:ext>
              </a:extLst>
            </p:cNvPr>
            <p:cNvGrpSpPr>
              <a:grpSpLocks noChangeAspect="1"/>
            </p:cNvGrpSpPr>
            <p:nvPr>
              <p:custDataLst>
                <p:tags r:id="rId33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206" name="Oval 205">
                <a:extLst>
                  <a:ext uri="{FF2B5EF4-FFF2-40B4-BE49-F238E27FC236}">
                    <a16:creationId xmlns:a16="http://schemas.microsoft.com/office/drawing/2014/main" id="{CE9D8D38-7A0F-4D15-9E4D-86B8DDD62C8A}"/>
                  </a:ext>
                </a:extLst>
              </p:cNvPr>
              <p:cNvSpPr/>
              <p:nvPr>
                <p:custDataLst>
                  <p:tags r:id="rId3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>
                  <a:solidFill>
                    <a:schemeClr val="tx1"/>
                  </a:solidFill>
                </a:endParaRPr>
              </a:p>
            </p:txBody>
          </p:sp>
          <p:sp>
            <p:nvSpPr>
              <p:cNvPr id="207" name="Arc 206">
                <a:extLst>
                  <a:ext uri="{FF2B5EF4-FFF2-40B4-BE49-F238E27FC236}">
                    <a16:creationId xmlns:a16="http://schemas.microsoft.com/office/drawing/2014/main" id="{4EB82467-28AB-4A78-9AD7-85CFECC30092}"/>
                  </a:ext>
                </a:extLst>
              </p:cNvPr>
              <p:cNvSpPr/>
              <p:nvPr>
                <p:custDataLst>
                  <p:tags r:id="rId3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/>
              </a:p>
            </p:txBody>
          </p:sp>
        </p:grpSp>
      </p:grpSp>
      <p:grpSp>
        <p:nvGrpSpPr>
          <p:cNvPr id="216" name="LegendBoxes" hidden="1">
            <a:extLst>
              <a:ext uri="{FF2B5EF4-FFF2-40B4-BE49-F238E27FC236}">
                <a16:creationId xmlns:a16="http://schemas.microsoft.com/office/drawing/2014/main" id="{A02BFB81-C9AD-40C1-861B-FAC435DC563B}"/>
              </a:ext>
            </a:extLst>
          </p:cNvPr>
          <p:cNvGrpSpPr/>
          <p:nvPr userDrawn="1"/>
        </p:nvGrpSpPr>
        <p:grpSpPr>
          <a:xfrm>
            <a:off x="10714801" y="4381500"/>
            <a:ext cx="922463" cy="1717282"/>
            <a:chOff x="10652400" y="4322824"/>
            <a:chExt cx="922463" cy="1717282"/>
          </a:xfrm>
        </p:grpSpPr>
        <p:sp>
          <p:nvSpPr>
            <p:cNvPr id="217" name="RectangleLegend1">
              <a:extLst>
                <a:ext uri="{FF2B5EF4-FFF2-40B4-BE49-F238E27FC236}">
                  <a16:creationId xmlns:a16="http://schemas.microsoft.com/office/drawing/2014/main" id="{711A4C32-ABB7-4EED-80F4-E033CD65556A}"/>
                </a:ext>
              </a:extLst>
            </p:cNvPr>
            <p:cNvSpPr/>
            <p:nvPr/>
          </p:nvSpPr>
          <p:spPr>
            <a:xfrm>
              <a:off x="10652400" y="4344182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>
                <a:solidFill>
                  <a:schemeClr val="tx1"/>
                </a:solidFill>
              </a:endParaRPr>
            </a:p>
          </p:txBody>
        </p:sp>
        <p:sp>
          <p:nvSpPr>
            <p:cNvPr id="218" name="RectangleLegend2">
              <a:extLst>
                <a:ext uri="{FF2B5EF4-FFF2-40B4-BE49-F238E27FC236}">
                  <a16:creationId xmlns:a16="http://schemas.microsoft.com/office/drawing/2014/main" id="{6087CB19-43C3-4A75-992E-6425E01D27D4}"/>
                </a:ext>
              </a:extLst>
            </p:cNvPr>
            <p:cNvSpPr/>
            <p:nvPr/>
          </p:nvSpPr>
          <p:spPr>
            <a:xfrm>
              <a:off x="10652400" y="4723680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>
                <a:solidFill>
                  <a:schemeClr val="tx1"/>
                </a:solidFill>
              </a:endParaRPr>
            </a:p>
          </p:txBody>
        </p:sp>
        <p:sp>
          <p:nvSpPr>
            <p:cNvPr id="219" name="RectangleLegend3">
              <a:extLst>
                <a:ext uri="{FF2B5EF4-FFF2-40B4-BE49-F238E27FC236}">
                  <a16:creationId xmlns:a16="http://schemas.microsoft.com/office/drawing/2014/main" id="{8FB5D1AF-949F-4615-AB7F-D9569D2A2D54}"/>
                </a:ext>
              </a:extLst>
            </p:cNvPr>
            <p:cNvSpPr/>
            <p:nvPr/>
          </p:nvSpPr>
          <p:spPr>
            <a:xfrm>
              <a:off x="10652400" y="5097276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>
                <a:solidFill>
                  <a:schemeClr val="tx1"/>
                </a:solidFill>
              </a:endParaRPr>
            </a:p>
          </p:txBody>
        </p:sp>
        <p:sp>
          <p:nvSpPr>
            <p:cNvPr id="220" name="RectangleLegend4">
              <a:extLst>
                <a:ext uri="{FF2B5EF4-FFF2-40B4-BE49-F238E27FC236}">
                  <a16:creationId xmlns:a16="http://schemas.microsoft.com/office/drawing/2014/main" id="{9CF91784-EA7E-4DDA-ACE5-678BDF30D928}"/>
                </a:ext>
              </a:extLst>
            </p:cNvPr>
            <p:cNvSpPr/>
            <p:nvPr/>
          </p:nvSpPr>
          <p:spPr>
            <a:xfrm>
              <a:off x="10652400" y="5470872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>
                <a:solidFill>
                  <a:schemeClr val="tx1"/>
                </a:solidFill>
              </a:endParaRPr>
            </a:p>
          </p:txBody>
        </p:sp>
        <p:sp>
          <p:nvSpPr>
            <p:cNvPr id="221" name="RectangleLegend5">
              <a:extLst>
                <a:ext uri="{FF2B5EF4-FFF2-40B4-BE49-F238E27FC236}">
                  <a16:creationId xmlns:a16="http://schemas.microsoft.com/office/drawing/2014/main" id="{3BB69B83-F4BD-4CE4-8EF8-59333989EFFA}"/>
                </a:ext>
              </a:extLst>
            </p:cNvPr>
            <p:cNvSpPr/>
            <p:nvPr/>
          </p:nvSpPr>
          <p:spPr>
            <a:xfrm>
              <a:off x="10652400" y="5844468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>
                <a:solidFill>
                  <a:schemeClr val="tx1"/>
                </a:solidFill>
              </a:endParaRPr>
            </a:p>
          </p:txBody>
        </p:sp>
        <p:sp>
          <p:nvSpPr>
            <p:cNvPr id="222" name="Legend1">
              <a:extLst>
                <a:ext uri="{FF2B5EF4-FFF2-40B4-BE49-F238E27FC236}">
                  <a16:creationId xmlns:a16="http://schemas.microsoft.com/office/drawing/2014/main" id="{51578018-7547-4CE7-822B-A395CEB8BA1A}"/>
                </a:ext>
              </a:extLst>
            </p:cNvPr>
            <p:cNvSpPr txBox="1"/>
            <p:nvPr/>
          </p:nvSpPr>
          <p:spPr>
            <a:xfrm>
              <a:off x="10978546" y="432282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223" name="Legend2">
              <a:extLst>
                <a:ext uri="{FF2B5EF4-FFF2-40B4-BE49-F238E27FC236}">
                  <a16:creationId xmlns:a16="http://schemas.microsoft.com/office/drawing/2014/main" id="{0B184683-011B-4318-ACFE-16B642606BB6}"/>
                </a:ext>
              </a:extLst>
            </p:cNvPr>
            <p:cNvSpPr txBox="1"/>
            <p:nvPr/>
          </p:nvSpPr>
          <p:spPr>
            <a:xfrm>
              <a:off x="10978546" y="4702322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224" name="Legend3">
              <a:extLst>
                <a:ext uri="{FF2B5EF4-FFF2-40B4-BE49-F238E27FC236}">
                  <a16:creationId xmlns:a16="http://schemas.microsoft.com/office/drawing/2014/main" id="{14B8E185-A1D2-4430-AEC9-5D05B9257EAD}"/>
                </a:ext>
              </a:extLst>
            </p:cNvPr>
            <p:cNvSpPr txBox="1"/>
            <p:nvPr/>
          </p:nvSpPr>
          <p:spPr>
            <a:xfrm>
              <a:off x="10978546" y="5081820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225" name="Legend4">
              <a:extLst>
                <a:ext uri="{FF2B5EF4-FFF2-40B4-BE49-F238E27FC236}">
                  <a16:creationId xmlns:a16="http://schemas.microsoft.com/office/drawing/2014/main" id="{3AD66AD6-7134-4D29-A117-DA716D0DAEF8}"/>
                </a:ext>
              </a:extLst>
            </p:cNvPr>
            <p:cNvSpPr txBox="1"/>
            <p:nvPr/>
          </p:nvSpPr>
          <p:spPr>
            <a:xfrm>
              <a:off x="10978546" y="5453241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226" name="Legend5">
              <a:extLst>
                <a:ext uri="{FF2B5EF4-FFF2-40B4-BE49-F238E27FC236}">
                  <a16:creationId xmlns:a16="http://schemas.microsoft.com/office/drawing/2014/main" id="{15632C85-3EA0-4087-8FA3-BBAEDA90037B}"/>
                </a:ext>
              </a:extLst>
            </p:cNvPr>
            <p:cNvSpPr txBox="1"/>
            <p:nvPr/>
          </p:nvSpPr>
          <p:spPr>
            <a:xfrm>
              <a:off x="10978545" y="5824662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</p:grpSp>
      <p:sp>
        <p:nvSpPr>
          <p:cNvPr id="152" name="TextBox 151">
            <a:extLst>
              <a:ext uri="{FF2B5EF4-FFF2-40B4-BE49-F238E27FC236}">
                <a16:creationId xmlns:a16="http://schemas.microsoft.com/office/drawing/2014/main" id="{F8ED9D11-6CE1-4370-BBF2-AB20F7DE2AB0}"/>
              </a:ext>
            </a:extLst>
          </p:cNvPr>
          <p:cNvSpPr txBox="1"/>
          <p:nvPr userDrawn="1"/>
        </p:nvSpPr>
        <p:spPr>
          <a:xfrm>
            <a:off x="3252274" y="6679868"/>
            <a:ext cx="5687454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US" sz="800">
                <a:solidFill>
                  <a:srgbClr val="000000">
                    <a:lumMod val="65000"/>
                    <a:lumOff val="35000"/>
                  </a:srgbClr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©2021 Georgia-Pacific LLC. Confidential and Proprietary Information. Do not distribute or copy without prior consent. All rights reserved</a:t>
            </a: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09A5BF4B-86ED-4767-A27D-BAEC8999F803}"/>
              </a:ext>
            </a:extLst>
          </p:cNvPr>
          <p:cNvGrpSpPr/>
          <p:nvPr userDrawn="1"/>
        </p:nvGrpSpPr>
        <p:grpSpPr bwMode="ltGray">
          <a:xfrm>
            <a:off x="1" y="6482495"/>
            <a:ext cx="11634787" cy="176931"/>
            <a:chOff x="1" y="6482495"/>
            <a:chExt cx="11634787" cy="176931"/>
          </a:xfrm>
        </p:grpSpPr>
        <p:sp>
          <p:nvSpPr>
            <p:cNvPr id="150" name="Rectangle 149">
              <a:extLst>
                <a:ext uri="{FF2B5EF4-FFF2-40B4-BE49-F238E27FC236}">
                  <a16:creationId xmlns:a16="http://schemas.microsoft.com/office/drawing/2014/main" id="{5963FAFB-8CC0-4FA5-B043-F04456FB0D26}"/>
                </a:ext>
              </a:extLst>
            </p:cNvPr>
            <p:cNvSpPr/>
            <p:nvPr userDrawn="1"/>
          </p:nvSpPr>
          <p:spPr bwMode="ltGray">
            <a:xfrm>
              <a:off x="2391190" y="6482495"/>
              <a:ext cx="9243598" cy="176931"/>
            </a:xfrm>
            <a:prstGeom prst="rect">
              <a:avLst/>
            </a:prstGeom>
            <a:gradFill flip="none" rotWithShape="1">
              <a:gsLst>
                <a:gs pos="0">
                  <a:schemeClr val="accent2"/>
                </a:gs>
                <a:gs pos="100000">
                  <a:schemeClr val="bg1"/>
                </a:gs>
              </a:gsLst>
              <a:lin ang="10800000" scaled="1"/>
              <a:tileRect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buClr>
                  <a:schemeClr val="bg2"/>
                </a:buClr>
              </a:pPr>
              <a:endParaRPr lang="en-US" sz="1600"/>
            </a:p>
          </p:txBody>
        </p:sp>
        <p:sp>
          <p:nvSpPr>
            <p:cNvPr id="151" name="Rectangle 150">
              <a:extLst>
                <a:ext uri="{FF2B5EF4-FFF2-40B4-BE49-F238E27FC236}">
                  <a16:creationId xmlns:a16="http://schemas.microsoft.com/office/drawing/2014/main" id="{3E187A0A-54A6-4B4B-88A5-65C99073ECDA}"/>
                </a:ext>
              </a:extLst>
            </p:cNvPr>
            <p:cNvSpPr/>
            <p:nvPr userDrawn="1"/>
          </p:nvSpPr>
          <p:spPr bwMode="ltGray">
            <a:xfrm>
              <a:off x="1" y="6482495"/>
              <a:ext cx="11604090" cy="152400"/>
            </a:xfrm>
            <a:prstGeom prst="rect">
              <a:avLst/>
            </a:prstGeom>
            <a:solidFill>
              <a:schemeClr val="accent1">
                <a:lumMod val="50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>
                <a:solidFill>
                  <a:schemeClr val="bg1"/>
                </a:solidFill>
              </a:endParaRPr>
            </a:p>
          </p:txBody>
        </p:sp>
      </p:grpSp>
      <p:grpSp>
        <p:nvGrpSpPr>
          <p:cNvPr id="153" name="Group 152">
            <a:extLst>
              <a:ext uri="{FF2B5EF4-FFF2-40B4-BE49-F238E27FC236}">
                <a16:creationId xmlns:a16="http://schemas.microsoft.com/office/drawing/2014/main" id="{59ABB731-3D7F-4970-82C4-98A50368AAD8}"/>
              </a:ext>
            </a:extLst>
          </p:cNvPr>
          <p:cNvGrpSpPr/>
          <p:nvPr userDrawn="1"/>
        </p:nvGrpSpPr>
        <p:grpSpPr bwMode="ltGray">
          <a:xfrm>
            <a:off x="547365" y="6116479"/>
            <a:ext cx="1026382" cy="616486"/>
            <a:chOff x="17864" y="-3048674"/>
            <a:chExt cx="2768679" cy="1662981"/>
          </a:xfrm>
        </p:grpSpPr>
        <p:sp>
          <p:nvSpPr>
            <p:cNvPr id="154" name="Freeform: Shape 153">
              <a:extLst>
                <a:ext uri="{FF2B5EF4-FFF2-40B4-BE49-F238E27FC236}">
                  <a16:creationId xmlns:a16="http://schemas.microsoft.com/office/drawing/2014/main" id="{63E7D1A3-11BC-423B-B098-8FF16BA30EBE}"/>
                </a:ext>
              </a:extLst>
            </p:cNvPr>
            <p:cNvSpPr/>
            <p:nvPr/>
          </p:nvSpPr>
          <p:spPr bwMode="ltGray">
            <a:xfrm>
              <a:off x="17864" y="-3048674"/>
              <a:ext cx="2768679" cy="1662981"/>
            </a:xfrm>
            <a:custGeom>
              <a:avLst/>
              <a:gdLst>
                <a:gd name="connsiteX0" fmla="*/ 1384449 w 2768679"/>
                <a:gd name="connsiteY0" fmla="*/ 0 h 1662981"/>
                <a:gd name="connsiteX1" fmla="*/ 2768680 w 2768679"/>
                <a:gd name="connsiteY1" fmla="*/ 1397245 h 1662981"/>
                <a:gd name="connsiteX2" fmla="*/ 1655784 w 2768679"/>
                <a:gd name="connsiteY2" fmla="*/ 1397245 h 1662981"/>
                <a:gd name="connsiteX3" fmla="*/ 1534512 w 2768679"/>
                <a:gd name="connsiteY3" fmla="*/ 1420511 h 1662981"/>
                <a:gd name="connsiteX4" fmla="*/ 1458826 w 2768679"/>
                <a:gd name="connsiteY4" fmla="*/ 1511246 h 1662981"/>
                <a:gd name="connsiteX5" fmla="*/ 1384449 w 2768679"/>
                <a:gd name="connsiteY5" fmla="*/ 1662982 h 1662981"/>
                <a:gd name="connsiteX6" fmla="*/ 1309926 w 2768679"/>
                <a:gd name="connsiteY6" fmla="*/ 1511246 h 1662981"/>
                <a:gd name="connsiteX7" fmla="*/ 1234240 w 2768679"/>
                <a:gd name="connsiteY7" fmla="*/ 1420511 h 1662981"/>
                <a:gd name="connsiteX8" fmla="*/ 1112968 w 2768679"/>
                <a:gd name="connsiteY8" fmla="*/ 1397245 h 1662981"/>
                <a:gd name="connsiteX9" fmla="*/ 0 w 2768679"/>
                <a:gd name="connsiteY9" fmla="*/ 1397245 h 1662981"/>
                <a:gd name="connsiteX10" fmla="*/ 1384449 w 2768679"/>
                <a:gd name="connsiteY10" fmla="*/ 0 h 16629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768679" h="1662981">
                  <a:moveTo>
                    <a:pt x="1384449" y="0"/>
                  </a:moveTo>
                  <a:lnTo>
                    <a:pt x="2768680" y="1397245"/>
                  </a:lnTo>
                  <a:cubicBezTo>
                    <a:pt x="2768680" y="1397245"/>
                    <a:pt x="1656147" y="1397245"/>
                    <a:pt x="1655784" y="1397245"/>
                  </a:cubicBezTo>
                  <a:cubicBezTo>
                    <a:pt x="1601328" y="1397245"/>
                    <a:pt x="1567011" y="1402625"/>
                    <a:pt x="1534512" y="1420511"/>
                  </a:cubicBezTo>
                  <a:cubicBezTo>
                    <a:pt x="1497142" y="1441086"/>
                    <a:pt x="1479692" y="1468423"/>
                    <a:pt x="1458826" y="1511246"/>
                  </a:cubicBezTo>
                  <a:cubicBezTo>
                    <a:pt x="1458899" y="1511319"/>
                    <a:pt x="1384449" y="1662982"/>
                    <a:pt x="1384449" y="1662982"/>
                  </a:cubicBezTo>
                  <a:cubicBezTo>
                    <a:pt x="1384449" y="1662982"/>
                    <a:pt x="1309854" y="1511319"/>
                    <a:pt x="1309926" y="1511246"/>
                  </a:cubicBezTo>
                  <a:cubicBezTo>
                    <a:pt x="1289060" y="1468423"/>
                    <a:pt x="1271611" y="1441086"/>
                    <a:pt x="1234240" y="1420511"/>
                  </a:cubicBezTo>
                  <a:cubicBezTo>
                    <a:pt x="1201741" y="1402625"/>
                    <a:pt x="1167424" y="1397245"/>
                    <a:pt x="1112968" y="1397245"/>
                  </a:cubicBezTo>
                  <a:cubicBezTo>
                    <a:pt x="1112605" y="1397245"/>
                    <a:pt x="0" y="1397245"/>
                    <a:pt x="0" y="1397245"/>
                  </a:cubicBezTo>
                  <a:lnTo>
                    <a:pt x="1384449" y="0"/>
                  </a:lnTo>
                </a:path>
              </a:pathLst>
            </a:custGeom>
            <a:solidFill>
              <a:srgbClr val="0E5D9D"/>
            </a:solidFill>
            <a:ln w="119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5" name="Freeform: Shape 154">
              <a:extLst>
                <a:ext uri="{FF2B5EF4-FFF2-40B4-BE49-F238E27FC236}">
                  <a16:creationId xmlns:a16="http://schemas.microsoft.com/office/drawing/2014/main" id="{6AB7EC48-434C-40AF-A54C-7892024D8884}"/>
                </a:ext>
              </a:extLst>
            </p:cNvPr>
            <p:cNvSpPr/>
            <p:nvPr/>
          </p:nvSpPr>
          <p:spPr bwMode="ltGray">
            <a:xfrm>
              <a:off x="688858" y="-2386985"/>
              <a:ext cx="673102" cy="637477"/>
            </a:xfrm>
            <a:custGeom>
              <a:avLst/>
              <a:gdLst>
                <a:gd name="connsiteX0" fmla="*/ 673103 w 673102"/>
                <a:gd name="connsiteY0" fmla="*/ 589710 h 637477"/>
                <a:gd name="connsiteX1" fmla="*/ 388390 w 673102"/>
                <a:gd name="connsiteY1" fmla="*/ 637478 h 637477"/>
                <a:gd name="connsiteX2" fmla="*/ 0 w 673102"/>
                <a:gd name="connsiteY2" fmla="*/ 323246 h 637477"/>
                <a:gd name="connsiteX3" fmla="*/ 394279 w 673102"/>
                <a:gd name="connsiteY3" fmla="*/ 0 h 637477"/>
                <a:gd name="connsiteX4" fmla="*/ 670486 w 673102"/>
                <a:gd name="connsiteY4" fmla="*/ 54165 h 637477"/>
                <a:gd name="connsiteX5" fmla="*/ 670486 w 673102"/>
                <a:gd name="connsiteY5" fmla="*/ 197249 h 637477"/>
                <a:gd name="connsiteX6" fmla="*/ 649910 w 673102"/>
                <a:gd name="connsiteY6" fmla="*/ 197249 h 637477"/>
                <a:gd name="connsiteX7" fmla="*/ 417108 w 673102"/>
                <a:gd name="connsiteY7" fmla="*/ 115092 h 637477"/>
                <a:gd name="connsiteX8" fmla="*/ 192014 w 673102"/>
                <a:gd name="connsiteY8" fmla="*/ 315467 h 637477"/>
                <a:gd name="connsiteX9" fmla="*/ 422707 w 673102"/>
                <a:gd name="connsiteY9" fmla="*/ 519695 h 637477"/>
                <a:gd name="connsiteX10" fmla="*/ 489014 w 673102"/>
                <a:gd name="connsiteY10" fmla="*/ 509371 h 637477"/>
                <a:gd name="connsiteX11" fmla="*/ 489014 w 673102"/>
                <a:gd name="connsiteY11" fmla="*/ 396460 h 637477"/>
                <a:gd name="connsiteX12" fmla="*/ 344185 w 673102"/>
                <a:gd name="connsiteY12" fmla="*/ 396460 h 637477"/>
                <a:gd name="connsiteX13" fmla="*/ 344185 w 673102"/>
                <a:gd name="connsiteY13" fmla="*/ 281368 h 637477"/>
                <a:gd name="connsiteX14" fmla="*/ 673103 w 673102"/>
                <a:gd name="connsiteY14" fmla="*/ 281368 h 637477"/>
                <a:gd name="connsiteX15" fmla="*/ 673103 w 673102"/>
                <a:gd name="connsiteY15" fmla="*/ 589710 h 6374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673102" h="637477">
                  <a:moveTo>
                    <a:pt x="673103" y="589710"/>
                  </a:moveTo>
                  <a:cubicBezTo>
                    <a:pt x="608032" y="611449"/>
                    <a:pt x="512061" y="637478"/>
                    <a:pt x="388390" y="637478"/>
                  </a:cubicBezTo>
                  <a:cubicBezTo>
                    <a:pt x="117927" y="637478"/>
                    <a:pt x="0" y="499483"/>
                    <a:pt x="0" y="323246"/>
                  </a:cubicBezTo>
                  <a:cubicBezTo>
                    <a:pt x="0" y="121054"/>
                    <a:pt x="160532" y="0"/>
                    <a:pt x="394279" y="0"/>
                  </a:cubicBezTo>
                  <a:cubicBezTo>
                    <a:pt x="516496" y="0"/>
                    <a:pt x="591164" y="21303"/>
                    <a:pt x="670486" y="54165"/>
                  </a:cubicBezTo>
                  <a:lnTo>
                    <a:pt x="670486" y="197249"/>
                  </a:lnTo>
                  <a:lnTo>
                    <a:pt x="649910" y="197249"/>
                  </a:lnTo>
                  <a:cubicBezTo>
                    <a:pt x="592546" y="153117"/>
                    <a:pt x="526529" y="115092"/>
                    <a:pt x="417108" y="115092"/>
                  </a:cubicBezTo>
                  <a:cubicBezTo>
                    <a:pt x="278969" y="115092"/>
                    <a:pt x="192014" y="191650"/>
                    <a:pt x="192014" y="315467"/>
                  </a:cubicBezTo>
                  <a:cubicBezTo>
                    <a:pt x="192014" y="424597"/>
                    <a:pt x="246324" y="525948"/>
                    <a:pt x="422707" y="519695"/>
                  </a:cubicBezTo>
                  <a:cubicBezTo>
                    <a:pt x="440374" y="519041"/>
                    <a:pt x="469819" y="515115"/>
                    <a:pt x="489014" y="509371"/>
                  </a:cubicBezTo>
                  <a:lnTo>
                    <a:pt x="489014" y="396460"/>
                  </a:lnTo>
                  <a:lnTo>
                    <a:pt x="344185" y="396460"/>
                  </a:lnTo>
                  <a:lnTo>
                    <a:pt x="344185" y="281368"/>
                  </a:lnTo>
                  <a:lnTo>
                    <a:pt x="673103" y="281368"/>
                  </a:lnTo>
                  <a:lnTo>
                    <a:pt x="673103" y="589710"/>
                  </a:lnTo>
                </a:path>
              </a:pathLst>
            </a:custGeom>
            <a:solidFill>
              <a:srgbClr val="FFFFFF"/>
            </a:solidFill>
            <a:ln w="119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6" name="Freeform: Shape 155">
              <a:extLst>
                <a:ext uri="{FF2B5EF4-FFF2-40B4-BE49-F238E27FC236}">
                  <a16:creationId xmlns:a16="http://schemas.microsoft.com/office/drawing/2014/main" id="{F2C53054-8898-4A3D-9202-5FAE58E77561}"/>
                </a:ext>
              </a:extLst>
            </p:cNvPr>
            <p:cNvSpPr/>
            <p:nvPr/>
          </p:nvSpPr>
          <p:spPr bwMode="ltGray">
            <a:xfrm>
              <a:off x="1449207" y="-2373753"/>
              <a:ext cx="602869" cy="611158"/>
            </a:xfrm>
            <a:custGeom>
              <a:avLst/>
              <a:gdLst>
                <a:gd name="connsiteX0" fmla="*/ 413546 w 602869"/>
                <a:gd name="connsiteY0" fmla="*/ 202992 h 611158"/>
                <a:gd name="connsiteX1" fmla="*/ 364034 w 602869"/>
                <a:gd name="connsiteY1" fmla="*/ 281587 h 611158"/>
                <a:gd name="connsiteX2" fmla="*/ 274679 w 602869"/>
                <a:gd name="connsiteY2" fmla="*/ 296637 h 611158"/>
                <a:gd name="connsiteX3" fmla="*/ 184234 w 602869"/>
                <a:gd name="connsiteY3" fmla="*/ 296637 h 611158"/>
                <a:gd name="connsiteX4" fmla="*/ 184234 w 602869"/>
                <a:gd name="connsiteY4" fmla="*/ 114947 h 611158"/>
                <a:gd name="connsiteX5" fmla="*/ 274679 w 602869"/>
                <a:gd name="connsiteY5" fmla="*/ 114947 h 611158"/>
                <a:gd name="connsiteX6" fmla="*/ 364034 w 602869"/>
                <a:gd name="connsiteY6" fmla="*/ 127234 h 611158"/>
                <a:gd name="connsiteX7" fmla="*/ 413546 w 602869"/>
                <a:gd name="connsiteY7" fmla="*/ 202992 h 611158"/>
                <a:gd name="connsiteX8" fmla="*/ 506318 w 602869"/>
                <a:gd name="connsiteY8" fmla="*/ 36134 h 611158"/>
                <a:gd name="connsiteX9" fmla="*/ 316194 w 602869"/>
                <a:gd name="connsiteY9" fmla="*/ 0 h 611158"/>
                <a:gd name="connsiteX10" fmla="*/ 0 w 602869"/>
                <a:gd name="connsiteY10" fmla="*/ 0 h 611158"/>
                <a:gd name="connsiteX11" fmla="*/ 0 w 602869"/>
                <a:gd name="connsiteY11" fmla="*/ 611158 h 611158"/>
                <a:gd name="connsiteX12" fmla="*/ 184234 w 602869"/>
                <a:gd name="connsiteY12" fmla="*/ 611158 h 611158"/>
                <a:gd name="connsiteX13" fmla="*/ 184234 w 602869"/>
                <a:gd name="connsiteY13" fmla="*/ 411729 h 611158"/>
                <a:gd name="connsiteX14" fmla="*/ 311759 w 602869"/>
                <a:gd name="connsiteY14" fmla="*/ 411729 h 611158"/>
                <a:gd name="connsiteX15" fmla="*/ 505081 w 602869"/>
                <a:gd name="connsiteY15" fmla="*/ 372468 h 611158"/>
                <a:gd name="connsiteX16" fmla="*/ 602870 w 602869"/>
                <a:gd name="connsiteY16" fmla="*/ 192814 h 611158"/>
                <a:gd name="connsiteX17" fmla="*/ 506318 w 602869"/>
                <a:gd name="connsiteY17" fmla="*/ 36134 h 6111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602869" h="611158">
                  <a:moveTo>
                    <a:pt x="413546" y="202992"/>
                  </a:moveTo>
                  <a:cubicBezTo>
                    <a:pt x="413546" y="247561"/>
                    <a:pt x="389481" y="269808"/>
                    <a:pt x="364034" y="281587"/>
                  </a:cubicBezTo>
                  <a:cubicBezTo>
                    <a:pt x="340405" y="292492"/>
                    <a:pt x="305870" y="296637"/>
                    <a:pt x="274679" y="296637"/>
                  </a:cubicBezTo>
                  <a:lnTo>
                    <a:pt x="184234" y="296637"/>
                  </a:lnTo>
                  <a:lnTo>
                    <a:pt x="184234" y="114947"/>
                  </a:lnTo>
                  <a:lnTo>
                    <a:pt x="274679" y="114947"/>
                  </a:lnTo>
                  <a:cubicBezTo>
                    <a:pt x="305870" y="114947"/>
                    <a:pt x="340405" y="116401"/>
                    <a:pt x="364034" y="127234"/>
                  </a:cubicBezTo>
                  <a:cubicBezTo>
                    <a:pt x="389481" y="139012"/>
                    <a:pt x="413546" y="158570"/>
                    <a:pt x="413546" y="202992"/>
                  </a:cubicBezTo>
                  <a:close/>
                  <a:moveTo>
                    <a:pt x="506318" y="36134"/>
                  </a:moveTo>
                  <a:cubicBezTo>
                    <a:pt x="455933" y="7634"/>
                    <a:pt x="390498" y="0"/>
                    <a:pt x="316194" y="0"/>
                  </a:cubicBezTo>
                  <a:lnTo>
                    <a:pt x="0" y="0"/>
                  </a:lnTo>
                  <a:lnTo>
                    <a:pt x="0" y="611158"/>
                  </a:lnTo>
                  <a:lnTo>
                    <a:pt x="184234" y="611158"/>
                  </a:lnTo>
                  <a:lnTo>
                    <a:pt x="184234" y="411729"/>
                  </a:lnTo>
                  <a:lnTo>
                    <a:pt x="311759" y="411729"/>
                  </a:lnTo>
                  <a:cubicBezTo>
                    <a:pt x="383446" y="411729"/>
                    <a:pt x="450916" y="403149"/>
                    <a:pt x="505081" y="372468"/>
                  </a:cubicBezTo>
                  <a:cubicBezTo>
                    <a:pt x="568917" y="336261"/>
                    <a:pt x="602870" y="279551"/>
                    <a:pt x="602870" y="192814"/>
                  </a:cubicBezTo>
                  <a:cubicBezTo>
                    <a:pt x="602870" y="116837"/>
                    <a:pt x="570371" y="72414"/>
                    <a:pt x="506318" y="36134"/>
                  </a:cubicBezTo>
                </a:path>
              </a:pathLst>
            </a:custGeom>
            <a:solidFill>
              <a:srgbClr val="FFFFFF"/>
            </a:solidFill>
            <a:ln w="119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7155354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7" r:id="rId1"/>
    <p:sldLayoutId id="2147483688" r:id="rId2"/>
    <p:sldLayoutId id="2147483689" r:id="rId3"/>
    <p:sldLayoutId id="2147483690" r:id="rId4"/>
    <p:sldLayoutId id="2147483691" r:id="rId5"/>
    <p:sldLayoutId id="2147483692" r:id="rId6"/>
    <p:sldLayoutId id="2147483693" r:id="rId7"/>
    <p:sldLayoutId id="2147483694" r:id="rId8"/>
    <p:sldLayoutId id="2147483695" r:id="rId9"/>
    <p:sldLayoutId id="2147483696" r:id="rId10"/>
    <p:sldLayoutId id="2147483697" r:id="rId11"/>
    <p:sldLayoutId id="2147483698" r:id="rId12"/>
    <p:sldLayoutId id="2147483699" r:id="rId13"/>
    <p:sldLayoutId id="2147483700" r:id="rId14"/>
    <p:sldLayoutId id="2147483701" r:id="rId15"/>
    <p:sldLayoutId id="2147483702" r:id="rId16"/>
    <p:sldLayoutId id="2147483703" r:id="rId17"/>
    <p:sldLayoutId id="2147483704" r:id="rId18"/>
    <p:sldLayoutId id="2147483705" r:id="rId19"/>
    <p:sldLayoutId id="2147483706" r:id="rId20"/>
    <p:sldLayoutId id="2147483707" r:id="rId21"/>
    <p:sldLayoutId id="2147483685" r:id="rId22"/>
  </p:sldLayoutIdLst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lang="en-US" sz="2500" b="1" kern="1200" spc="0" baseline="0" dirty="0">
          <a:ln w="6350" cap="flat">
            <a:noFill/>
            <a:miter lim="800000"/>
          </a:ln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tx1"/>
        </a:buClr>
        <a:buSzPct val="100000"/>
        <a:buFont typeface="Segoe UI" panose="020B0502040204020203" pitchFamily="34" charset="0"/>
        <a:buChar char="​"/>
        <a:defRPr lang="en-US" sz="1600" kern="1200" dirty="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2286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10000"/>
        <a:buFont typeface="Wingdings" panose="05000000000000000000" pitchFamily="2" charset="2"/>
        <a:buChar char="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2pPr>
      <a:lvl3pPr marL="438912" indent="-210312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10000"/>
        <a:buFont typeface="Arial" panose="020B0604020202020204" pitchFamily="34" charset="0"/>
        <a:buChar char="‒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3pPr>
      <a:lvl4pPr marL="594360" indent="-15544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00000"/>
        <a:buFont typeface="Arial" panose="020B0604020202020204" pitchFamily="34" charset="0"/>
        <a:buChar char="•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4pPr>
      <a:lvl5pPr marL="813816" indent="-146304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00000"/>
        <a:buFont typeface="Arial" panose="020B0604020202020204" pitchFamily="34" charset="0"/>
        <a:buChar char="̶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chart" Target="../charts/chart8.xml"/><Relationship Id="rId3" Type="http://schemas.openxmlformats.org/officeDocument/2006/relationships/chart" Target="../charts/chart3.xml"/><Relationship Id="rId7" Type="http://schemas.openxmlformats.org/officeDocument/2006/relationships/chart" Target="../charts/chart7.xml"/><Relationship Id="rId12" Type="http://schemas.openxmlformats.org/officeDocument/2006/relationships/chart" Target="../charts/chart12.xml"/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2.xml"/><Relationship Id="rId6" Type="http://schemas.openxmlformats.org/officeDocument/2006/relationships/chart" Target="../charts/chart6.xml"/><Relationship Id="rId11" Type="http://schemas.openxmlformats.org/officeDocument/2006/relationships/chart" Target="../charts/chart11.xml"/><Relationship Id="rId5" Type="http://schemas.openxmlformats.org/officeDocument/2006/relationships/chart" Target="../charts/chart5.xml"/><Relationship Id="rId10" Type="http://schemas.openxmlformats.org/officeDocument/2006/relationships/chart" Target="../charts/chart10.xml"/><Relationship Id="rId4" Type="http://schemas.openxmlformats.org/officeDocument/2006/relationships/chart" Target="../charts/chart4.xml"/><Relationship Id="rId9" Type="http://schemas.openxmlformats.org/officeDocument/2006/relationships/chart" Target="../charts/chart9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9.xml"/><Relationship Id="rId3" Type="http://schemas.openxmlformats.org/officeDocument/2006/relationships/chart" Target="../charts/chart14.xml"/><Relationship Id="rId7" Type="http://schemas.openxmlformats.org/officeDocument/2006/relationships/chart" Target="../charts/chart18.xml"/><Relationship Id="rId12" Type="http://schemas.openxmlformats.org/officeDocument/2006/relationships/chart" Target="../charts/chart23.xml"/><Relationship Id="rId2" Type="http://schemas.openxmlformats.org/officeDocument/2006/relationships/chart" Target="../charts/chart13.xml"/><Relationship Id="rId1" Type="http://schemas.openxmlformats.org/officeDocument/2006/relationships/slideLayout" Target="../slideLayouts/slideLayout2.xml"/><Relationship Id="rId6" Type="http://schemas.openxmlformats.org/officeDocument/2006/relationships/chart" Target="../charts/chart17.xml"/><Relationship Id="rId11" Type="http://schemas.openxmlformats.org/officeDocument/2006/relationships/chart" Target="../charts/chart22.xml"/><Relationship Id="rId5" Type="http://schemas.openxmlformats.org/officeDocument/2006/relationships/chart" Target="../charts/chart16.xml"/><Relationship Id="rId10" Type="http://schemas.openxmlformats.org/officeDocument/2006/relationships/chart" Target="../charts/chart21.xml"/><Relationship Id="rId4" Type="http://schemas.openxmlformats.org/officeDocument/2006/relationships/chart" Target="../charts/chart15.xml"/><Relationship Id="rId9" Type="http://schemas.openxmlformats.org/officeDocument/2006/relationships/chart" Target="../charts/chart20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chart" Target="../charts/chart30.xml"/><Relationship Id="rId3" Type="http://schemas.openxmlformats.org/officeDocument/2006/relationships/chart" Target="../charts/chart25.xml"/><Relationship Id="rId7" Type="http://schemas.openxmlformats.org/officeDocument/2006/relationships/chart" Target="../charts/chart29.xml"/><Relationship Id="rId12" Type="http://schemas.openxmlformats.org/officeDocument/2006/relationships/chart" Target="../charts/chart34.xml"/><Relationship Id="rId2" Type="http://schemas.openxmlformats.org/officeDocument/2006/relationships/chart" Target="../charts/chart24.xml"/><Relationship Id="rId1" Type="http://schemas.openxmlformats.org/officeDocument/2006/relationships/slideLayout" Target="../slideLayouts/slideLayout2.xml"/><Relationship Id="rId6" Type="http://schemas.openxmlformats.org/officeDocument/2006/relationships/chart" Target="../charts/chart28.xml"/><Relationship Id="rId11" Type="http://schemas.openxmlformats.org/officeDocument/2006/relationships/chart" Target="../charts/chart33.xml"/><Relationship Id="rId5" Type="http://schemas.openxmlformats.org/officeDocument/2006/relationships/chart" Target="../charts/chart27.xml"/><Relationship Id="rId10" Type="http://schemas.openxmlformats.org/officeDocument/2006/relationships/chart" Target="../charts/chart32.xml"/><Relationship Id="rId4" Type="http://schemas.openxmlformats.org/officeDocument/2006/relationships/chart" Target="../charts/chart26.xml"/><Relationship Id="rId9" Type="http://schemas.openxmlformats.org/officeDocument/2006/relationships/chart" Target="../charts/chart31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5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chart" Target="../charts/chart42.xml"/><Relationship Id="rId3" Type="http://schemas.openxmlformats.org/officeDocument/2006/relationships/chart" Target="../charts/chart37.xml"/><Relationship Id="rId7" Type="http://schemas.openxmlformats.org/officeDocument/2006/relationships/chart" Target="../charts/chart41.xml"/><Relationship Id="rId12" Type="http://schemas.openxmlformats.org/officeDocument/2006/relationships/chart" Target="../charts/chart46.xml"/><Relationship Id="rId2" Type="http://schemas.openxmlformats.org/officeDocument/2006/relationships/chart" Target="../charts/chart36.xml"/><Relationship Id="rId1" Type="http://schemas.openxmlformats.org/officeDocument/2006/relationships/slideLayout" Target="../slideLayouts/slideLayout2.xml"/><Relationship Id="rId6" Type="http://schemas.openxmlformats.org/officeDocument/2006/relationships/chart" Target="../charts/chart40.xml"/><Relationship Id="rId11" Type="http://schemas.openxmlformats.org/officeDocument/2006/relationships/chart" Target="../charts/chart45.xml"/><Relationship Id="rId5" Type="http://schemas.openxmlformats.org/officeDocument/2006/relationships/chart" Target="../charts/chart39.xml"/><Relationship Id="rId10" Type="http://schemas.openxmlformats.org/officeDocument/2006/relationships/chart" Target="../charts/chart44.xml"/><Relationship Id="rId4" Type="http://schemas.openxmlformats.org/officeDocument/2006/relationships/chart" Target="../charts/chart38.xml"/><Relationship Id="rId9" Type="http://schemas.openxmlformats.org/officeDocument/2006/relationships/chart" Target="../charts/chart4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chart" Target="../charts/chart47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chart" Target="../charts/chart48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0" y="9144"/>
            <a:ext cx="11082528" cy="384048"/>
          </a:xfrm>
          <a:prstGeom prst="rect">
            <a:avLst/>
          </a:prstGeom>
          <a:noFill/>
          <a:ln>
            <a:noFill/>
          </a:ln>
        </p:spPr>
        <p:txBody>
          <a:bodyPr wrap="square" anchor="t">
            <a:spAutoFit/>
          </a:bodyPr>
          <a:lstStyle/>
          <a:p>
            <a:pPr>
              <a:defRPr sz="2500" b="1">
                <a:solidFill>
                  <a:srgbClr val="003399"/>
                </a:solidFill>
                <a:latin typeface="Calibri"/>
              </a:defRPr>
            </a:pPr>
            <a:r>
              <a:t>Scenario Summary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530352" y="731520"/>
            <a:ext cx="1371600" cy="182880"/>
          </a:xfrm>
          <a:prstGeom prst="rect">
            <a:avLst/>
          </a:prstGeom>
          <a:noFill/>
          <a:ln>
            <a:noFill/>
          </a:ln>
        </p:spPr>
        <p:txBody>
          <a:bodyPr wrap="square" anchor="t">
            <a:spAutoFit/>
          </a:bodyPr>
          <a:lstStyle/>
          <a:p>
            <a:pPr>
              <a:defRPr sz="1200" b="1">
                <a:solidFill>
                  <a:srgbClr val="003399"/>
                </a:solidFill>
                <a:latin typeface="Calibri"/>
              </a:defRPr>
            </a:pPr>
            <a:r>
              <a:t>Scenario Name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530352" y="1179576"/>
            <a:ext cx="1371600" cy="182880"/>
          </a:xfrm>
          <a:prstGeom prst="rect">
            <a:avLst/>
          </a:prstGeom>
          <a:noFill/>
          <a:ln>
            <a:noFill/>
          </a:ln>
        </p:spPr>
        <p:txBody>
          <a:bodyPr wrap="square" anchor="t">
            <a:spAutoFit/>
          </a:bodyPr>
          <a:lstStyle/>
          <a:p>
            <a:pPr>
              <a:defRPr sz="1200" b="1">
                <a:solidFill>
                  <a:srgbClr val="003399"/>
                </a:solidFill>
                <a:latin typeface="Calibri"/>
              </a:defRPr>
            </a:pPr>
            <a:r>
              <a:t>Description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530352" y="1737360"/>
            <a:ext cx="1371600" cy="182880"/>
          </a:xfrm>
          <a:prstGeom prst="rect">
            <a:avLst/>
          </a:prstGeom>
          <a:noFill/>
          <a:ln>
            <a:noFill/>
          </a:ln>
        </p:spPr>
        <p:txBody>
          <a:bodyPr wrap="square" anchor="t">
            <a:spAutoFit/>
          </a:bodyPr>
          <a:lstStyle/>
          <a:p>
            <a:pPr>
              <a:defRPr sz="1200" b="1">
                <a:solidFill>
                  <a:srgbClr val="003399"/>
                </a:solidFill>
                <a:latin typeface="Calibri"/>
              </a:defRPr>
            </a:pPr>
            <a:r>
              <a:t># of Suppliers (% spend)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530352" y="2971800"/>
            <a:ext cx="1371600" cy="182880"/>
          </a:xfrm>
          <a:prstGeom prst="rect">
            <a:avLst/>
          </a:prstGeom>
          <a:noFill/>
          <a:ln>
            <a:noFill/>
          </a:ln>
        </p:spPr>
        <p:txBody>
          <a:bodyPr wrap="square" anchor="t">
            <a:spAutoFit/>
          </a:bodyPr>
          <a:lstStyle/>
          <a:p>
            <a:pPr>
              <a:defRPr sz="1200" b="1">
                <a:solidFill>
                  <a:srgbClr val="003399"/>
                </a:solidFill>
                <a:latin typeface="Calibri"/>
              </a:defRPr>
            </a:pPr>
            <a:r>
              <a:t>RFP Savings %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530352" y="3511296"/>
            <a:ext cx="1371600" cy="182880"/>
          </a:xfrm>
          <a:prstGeom prst="rect">
            <a:avLst/>
          </a:prstGeom>
          <a:noFill/>
          <a:ln>
            <a:noFill/>
          </a:ln>
        </p:spPr>
        <p:txBody>
          <a:bodyPr wrap="square" anchor="t">
            <a:spAutoFit/>
          </a:bodyPr>
          <a:lstStyle/>
          <a:p>
            <a:pPr>
              <a:defRPr sz="1200" b="1">
                <a:solidFill>
                  <a:srgbClr val="003399"/>
                </a:solidFill>
                <a:latin typeface="Calibri"/>
              </a:defRPr>
            </a:pPr>
            <a:r>
              <a:t>Total Value Opportunity ($MM)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530352" y="4471416"/>
            <a:ext cx="1371600" cy="182880"/>
          </a:xfrm>
          <a:prstGeom prst="rect">
            <a:avLst/>
          </a:prstGeom>
          <a:noFill/>
          <a:ln>
            <a:noFill/>
          </a:ln>
        </p:spPr>
        <p:txBody>
          <a:bodyPr wrap="square" anchor="t">
            <a:spAutoFit/>
          </a:bodyPr>
          <a:lstStyle/>
          <a:p>
            <a:pPr>
              <a:defRPr sz="1200" b="1">
                <a:solidFill>
                  <a:srgbClr val="003399"/>
                </a:solidFill>
                <a:latin typeface="Calibri"/>
              </a:defRPr>
            </a:pPr>
            <a:r>
              <a:t>Key Considerations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2487168" y="731520"/>
            <a:ext cx="2286000" cy="310896"/>
          </a:xfrm>
          <a:prstGeom prst="rect">
            <a:avLst/>
          </a:prstGeom>
          <a:noFill/>
          <a:ln>
            <a:noFill/>
          </a:ln>
        </p:spPr>
        <p:txBody>
          <a:bodyPr wrap="square" anchor="t">
            <a:spAutoFit/>
          </a:bodyPr>
          <a:lstStyle/>
          <a:p>
            <a:pPr algn="ctr">
              <a:defRPr sz="1400" b="1">
                <a:solidFill>
                  <a:srgbClr val="003399"/>
                </a:solidFill>
                <a:latin typeface="Calibri"/>
              </a:defRPr>
            </a:pPr>
            <a:r>
              <a:t>As-Is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2487168" y="1179576"/>
            <a:ext cx="2286000" cy="310896"/>
          </a:xfrm>
          <a:prstGeom prst="rect">
            <a:avLst/>
          </a:prstGeom>
          <a:noFill/>
          <a:ln>
            <a:noFill/>
          </a:ln>
        </p:spPr>
        <p:txBody>
          <a:bodyPr wrap="square" anchor="t">
            <a:spAutoFit/>
          </a:bodyPr>
          <a:lstStyle/>
          <a:p>
            <a:pPr algn="ctr">
              <a:defRPr sz="1200">
                <a:solidFill>
                  <a:srgbClr val="000000"/>
                </a:solidFill>
                <a:latin typeface="Calibri"/>
              </a:defRPr>
            </a:pPr>
            <a:r>
              <a:t>Describe your scenario here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2487168" y="1691640"/>
            <a:ext cx="2286000" cy="1014984"/>
          </a:xfrm>
          <a:prstGeom prst="rect">
            <a:avLst/>
          </a:prstGeom>
          <a:noFill/>
          <a:ln>
            <a:noFill/>
          </a:ln>
        </p:spPr>
        <p:txBody>
          <a:bodyPr wrap="square" anchor="t">
            <a:spAutoFit/>
          </a:bodyPr>
          <a:lstStyle/>
          <a:p>
            <a:pPr algn="ctr">
              <a:defRPr sz="1200">
                <a:solidFill>
                  <a:srgbClr val="000000"/>
                </a:solidFill>
                <a:latin typeface="Calibri"/>
              </a:defRPr>
            </a:pPr>
            <a:r>
              <a:t>4- Supplier 2 (73%), Supplier 1 (24%), Supplier 4 (3%), No Bid from Incumbent (0%)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2487168" y="2980944"/>
            <a:ext cx="2286000" cy="274320"/>
          </a:xfrm>
          <a:prstGeom prst="rect">
            <a:avLst/>
          </a:prstGeom>
          <a:noFill/>
          <a:ln>
            <a:noFill/>
          </a:ln>
        </p:spPr>
        <p:txBody>
          <a:bodyPr wrap="square" anchor="t">
            <a:spAutoFit/>
          </a:bodyPr>
          <a:lstStyle/>
          <a:p>
            <a:pPr algn="ctr">
              <a:defRPr sz="1200">
                <a:solidFill>
                  <a:srgbClr val="000000"/>
                </a:solidFill>
                <a:latin typeface="Calibri"/>
              </a:defRPr>
            </a:pPr>
            <a:r>
              <a:t>7% | 17%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2487168" y="4462272"/>
            <a:ext cx="2286000" cy="1828800"/>
          </a:xfrm>
          <a:prstGeom prst="rect">
            <a:avLst/>
          </a:prstGeom>
          <a:noFill/>
          <a:ln>
            <a:noFill/>
          </a:ln>
        </p:spPr>
        <p:txBody>
          <a:bodyPr wrap="square" anchor="t">
            <a:spAutoFit/>
          </a:bodyPr>
          <a:lstStyle/>
          <a:p>
            <a:pPr algn="l">
              <a:defRPr sz="1200">
                <a:solidFill>
                  <a:srgbClr val="000000"/>
                </a:solidFill>
                <a:latin typeface="Calibri"/>
              </a:defRPr>
            </a:pPr>
            <a:r>
              <a:t>Key considerations for As-Is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5367528" y="731520"/>
            <a:ext cx="2286000" cy="310896"/>
          </a:xfrm>
          <a:prstGeom prst="rect">
            <a:avLst/>
          </a:prstGeom>
          <a:noFill/>
          <a:ln>
            <a:noFill/>
          </a:ln>
        </p:spPr>
        <p:txBody>
          <a:bodyPr wrap="square" anchor="t">
            <a:spAutoFit/>
          </a:bodyPr>
          <a:lstStyle/>
          <a:p>
            <a:pPr algn="ctr">
              <a:defRPr sz="1400" b="1">
                <a:solidFill>
                  <a:srgbClr val="003399"/>
                </a:solidFill>
                <a:latin typeface="Calibri"/>
              </a:defRPr>
            </a:pPr>
            <a:r>
              <a:t>Best of Best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5367528" y="1179576"/>
            <a:ext cx="2286000" cy="310896"/>
          </a:xfrm>
          <a:prstGeom prst="rect">
            <a:avLst/>
          </a:prstGeom>
          <a:noFill/>
          <a:ln>
            <a:noFill/>
          </a:ln>
        </p:spPr>
        <p:txBody>
          <a:bodyPr wrap="square" anchor="t">
            <a:spAutoFit/>
          </a:bodyPr>
          <a:lstStyle/>
          <a:p>
            <a:pPr algn="ctr">
              <a:defRPr sz="1200">
                <a:solidFill>
                  <a:srgbClr val="000000"/>
                </a:solidFill>
                <a:latin typeface="Calibri"/>
              </a:defRPr>
            </a:pPr>
            <a:r>
              <a:t>Describe your scenario here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5367528" y="1691640"/>
            <a:ext cx="2286000" cy="1014984"/>
          </a:xfrm>
          <a:prstGeom prst="rect">
            <a:avLst/>
          </a:prstGeom>
          <a:noFill/>
          <a:ln>
            <a:noFill/>
          </a:ln>
        </p:spPr>
        <p:txBody>
          <a:bodyPr wrap="square" anchor="t">
            <a:spAutoFit/>
          </a:bodyPr>
          <a:lstStyle/>
          <a:p>
            <a:pPr algn="ctr">
              <a:defRPr sz="1200">
                <a:solidFill>
                  <a:srgbClr val="000000"/>
                </a:solidFill>
                <a:latin typeface="Calibri"/>
              </a:defRPr>
            </a:pPr>
            <a:r>
              <a:t>5- Supplier 2 (77%), Supplier 5 (14%), Supplier 4 (9%), Supplier 1 (0%), Supplier 3 (0%)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5367528" y="2980944"/>
            <a:ext cx="2286000" cy="274320"/>
          </a:xfrm>
          <a:prstGeom prst="rect">
            <a:avLst/>
          </a:prstGeom>
          <a:noFill/>
          <a:ln>
            <a:noFill/>
          </a:ln>
        </p:spPr>
        <p:txBody>
          <a:bodyPr wrap="square" anchor="t">
            <a:spAutoFit/>
          </a:bodyPr>
          <a:lstStyle/>
          <a:p>
            <a:pPr algn="ctr">
              <a:defRPr sz="1200">
                <a:solidFill>
                  <a:srgbClr val="000000"/>
                </a:solidFill>
                <a:latin typeface="Calibri"/>
              </a:defRPr>
            </a:pPr>
            <a:r>
              <a:t>-3% | -2%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5367528" y="4462272"/>
            <a:ext cx="2286000" cy="1828800"/>
          </a:xfrm>
          <a:prstGeom prst="rect">
            <a:avLst/>
          </a:prstGeom>
          <a:noFill/>
          <a:ln>
            <a:noFill/>
          </a:ln>
        </p:spPr>
        <p:txBody>
          <a:bodyPr wrap="square" anchor="t">
            <a:spAutoFit/>
          </a:bodyPr>
          <a:lstStyle/>
          <a:p>
            <a:pPr algn="l">
              <a:defRPr sz="1200">
                <a:solidFill>
                  <a:srgbClr val="000000"/>
                </a:solidFill>
                <a:latin typeface="Calibri"/>
              </a:defRPr>
            </a:pPr>
            <a:r>
              <a:t>Key considerations for Best of Best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8247888" y="731520"/>
            <a:ext cx="2286000" cy="310896"/>
          </a:xfrm>
          <a:prstGeom prst="rect">
            <a:avLst/>
          </a:prstGeom>
          <a:noFill/>
          <a:ln>
            <a:noFill/>
          </a:ln>
        </p:spPr>
        <p:txBody>
          <a:bodyPr wrap="square" anchor="t">
            <a:spAutoFit/>
          </a:bodyPr>
          <a:lstStyle/>
          <a:p>
            <a:pPr algn="ctr">
              <a:defRPr sz="1400" b="1">
                <a:solidFill>
                  <a:srgbClr val="003399"/>
                </a:solidFill>
                <a:latin typeface="Calibri"/>
              </a:defRPr>
            </a:pPr>
            <a:r>
              <a:t>BOB Excl Suppliers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8247888" y="1179576"/>
            <a:ext cx="2286000" cy="310896"/>
          </a:xfrm>
          <a:prstGeom prst="rect">
            <a:avLst/>
          </a:prstGeom>
          <a:noFill/>
          <a:ln>
            <a:noFill/>
          </a:ln>
        </p:spPr>
        <p:txBody>
          <a:bodyPr wrap="square" anchor="t">
            <a:spAutoFit/>
          </a:bodyPr>
          <a:lstStyle/>
          <a:p>
            <a:pPr algn="ctr">
              <a:defRPr sz="1200">
                <a:solidFill>
                  <a:srgbClr val="000000"/>
                </a:solidFill>
                <a:latin typeface="Calibri"/>
              </a:defRPr>
            </a:pPr>
            <a:r>
              <a:t>Describe your scenario here</a:t>
            </a:r>
          </a:p>
        </p:txBody>
      </p:sp>
      <p:sp>
        <p:nvSpPr>
          <p:cNvPr id="21" name="TextBox 20"/>
          <p:cNvSpPr txBox="1"/>
          <p:nvPr/>
        </p:nvSpPr>
        <p:spPr>
          <a:xfrm>
            <a:off x="8247888" y="1691640"/>
            <a:ext cx="2286000" cy="1014984"/>
          </a:xfrm>
          <a:prstGeom prst="rect">
            <a:avLst/>
          </a:prstGeom>
          <a:noFill/>
          <a:ln>
            <a:noFill/>
          </a:ln>
        </p:spPr>
        <p:txBody>
          <a:bodyPr wrap="square" anchor="t">
            <a:spAutoFit/>
          </a:bodyPr>
          <a:lstStyle/>
          <a:p>
            <a:pPr algn="ctr">
              <a:defRPr sz="1200">
                <a:solidFill>
                  <a:srgbClr val="000000"/>
                </a:solidFill>
                <a:latin typeface="Calibri"/>
              </a:defRPr>
            </a:pPr>
            <a:r>
              <a:t>5- Supplier 2 (77%), Supplier 5 (14%), Supplier 4 (9%), Supplier 1 (0%), Supplier 3 (0%)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8247888" y="2980944"/>
            <a:ext cx="2286000" cy="274320"/>
          </a:xfrm>
          <a:prstGeom prst="rect">
            <a:avLst/>
          </a:prstGeom>
          <a:noFill/>
          <a:ln>
            <a:noFill/>
          </a:ln>
        </p:spPr>
        <p:txBody>
          <a:bodyPr wrap="square" anchor="t">
            <a:spAutoFit/>
          </a:bodyPr>
          <a:lstStyle/>
          <a:p>
            <a:pPr algn="ctr">
              <a:defRPr sz="1200">
                <a:solidFill>
                  <a:srgbClr val="000000"/>
                </a:solidFill>
                <a:latin typeface="Calibri"/>
              </a:defRPr>
            </a:pPr>
            <a:r>
              <a:t>-3% | -2%</a:t>
            </a:r>
          </a:p>
        </p:txBody>
      </p:sp>
      <p:sp>
        <p:nvSpPr>
          <p:cNvPr id="23" name="TextBox 22"/>
          <p:cNvSpPr txBox="1"/>
          <p:nvPr/>
        </p:nvSpPr>
        <p:spPr>
          <a:xfrm>
            <a:off x="8247888" y="4462272"/>
            <a:ext cx="2286000" cy="1828800"/>
          </a:xfrm>
          <a:prstGeom prst="rect">
            <a:avLst/>
          </a:prstGeom>
          <a:noFill/>
          <a:ln>
            <a:noFill/>
          </a:ln>
        </p:spPr>
        <p:txBody>
          <a:bodyPr wrap="square" anchor="t">
            <a:spAutoFit/>
          </a:bodyPr>
          <a:lstStyle/>
          <a:p>
            <a:pPr algn="l">
              <a:defRPr sz="1200">
                <a:solidFill>
                  <a:srgbClr val="000000"/>
                </a:solidFill>
                <a:latin typeface="Calibri"/>
              </a:defRPr>
            </a:pPr>
            <a:r>
              <a:t>Key considerations for BOB Excl Suppliers</a:t>
            </a:r>
          </a:p>
        </p:txBody>
      </p:sp>
      <p:graphicFrame>
        <p:nvGraphicFramePr>
          <p:cNvPr id="24" name="Chart 23"/>
          <p:cNvGraphicFramePr>
            <a:graphicFrameLocks noGrp="1"/>
          </p:cNvGraphicFramePr>
          <p:nvPr/>
        </p:nvGraphicFramePr>
        <p:xfrm>
          <a:off x="1700784" y="3374136"/>
          <a:ext cx="8229600" cy="9144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55316283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0" y="9144"/>
            <a:ext cx="10972800" cy="384048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l">
              <a:defRPr sz="2500" b="1">
                <a:solidFill>
                  <a:srgbClr val="003399"/>
                </a:solidFill>
                <a:latin typeface="Calibri"/>
              </a:defRPr>
            </a:pPr>
            <a:r>
              <a:t>Supplier Coverage - Incumbent vs. New Business</a:t>
            </a:r>
          </a:p>
        </p:txBody>
      </p:sp>
      <p:graphicFrame>
        <p:nvGraphicFramePr>
          <p:cNvPr id="3" name="Table 2"/>
          <p:cNvGraphicFramePr>
            <a:graphicFrameLocks noGrp="1"/>
          </p:cNvGraphicFramePr>
          <p:nvPr/>
        </p:nvGraphicFramePr>
        <p:xfrm>
          <a:off x="457200" y="1371600"/>
          <a:ext cx="10972800" cy="17145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144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572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60007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600075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600075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600075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600075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600075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600075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600075">
                  <a:extLst>
                    <a:ext uri="{9D8B030D-6E8A-4147-A177-3AD203B41FA5}">
                      <a16:colId xmlns:a16="http://schemas.microsoft.com/office/drawing/2014/main" val="20009"/>
                    </a:ext>
                  </a:extLst>
                </a:gridCol>
                <a:gridCol w="600075">
                  <a:extLst>
                    <a:ext uri="{9D8B030D-6E8A-4147-A177-3AD203B41FA5}">
                      <a16:colId xmlns:a16="http://schemas.microsoft.com/office/drawing/2014/main" val="20010"/>
                    </a:ext>
                  </a:extLst>
                </a:gridCol>
                <a:gridCol w="600075">
                  <a:extLst>
                    <a:ext uri="{9D8B030D-6E8A-4147-A177-3AD203B41FA5}">
                      <a16:colId xmlns:a16="http://schemas.microsoft.com/office/drawing/2014/main" val="20011"/>
                    </a:ext>
                  </a:extLst>
                </a:gridCol>
                <a:gridCol w="600075">
                  <a:extLst>
                    <a:ext uri="{9D8B030D-6E8A-4147-A177-3AD203B41FA5}">
                      <a16:colId xmlns:a16="http://schemas.microsoft.com/office/drawing/2014/main" val="20012"/>
                    </a:ext>
                  </a:extLst>
                </a:gridCol>
                <a:gridCol w="600075">
                  <a:extLst>
                    <a:ext uri="{9D8B030D-6E8A-4147-A177-3AD203B41FA5}">
                      <a16:colId xmlns:a16="http://schemas.microsoft.com/office/drawing/2014/main" val="20013"/>
                    </a:ext>
                  </a:extLst>
                </a:gridCol>
                <a:gridCol w="600075">
                  <a:extLst>
                    <a:ext uri="{9D8B030D-6E8A-4147-A177-3AD203B41FA5}">
                      <a16:colId xmlns:a16="http://schemas.microsoft.com/office/drawing/2014/main" val="20014"/>
                    </a:ext>
                  </a:extLst>
                </a:gridCol>
                <a:gridCol w="600075">
                  <a:extLst>
                    <a:ext uri="{9D8B030D-6E8A-4147-A177-3AD203B41FA5}">
                      <a16:colId xmlns:a16="http://schemas.microsoft.com/office/drawing/2014/main" val="20015"/>
                    </a:ext>
                  </a:extLst>
                </a:gridCol>
                <a:gridCol w="600075">
                  <a:extLst>
                    <a:ext uri="{9D8B030D-6E8A-4147-A177-3AD203B41FA5}">
                      <a16:colId xmlns:a16="http://schemas.microsoft.com/office/drawing/2014/main" val="20016"/>
                    </a:ext>
                  </a:extLst>
                </a:gridCol>
                <a:gridCol w="600075">
                  <a:extLst>
                    <a:ext uri="{9D8B030D-6E8A-4147-A177-3AD203B41FA5}">
                      <a16:colId xmlns:a16="http://schemas.microsoft.com/office/drawing/2014/main" val="20017"/>
                    </a:ext>
                  </a:extLst>
                </a:gridCol>
              </a:tblGrid>
              <a:tr h="190500">
                <a:tc>
                  <a:txBody>
                    <a:bodyPr/>
                    <a:lstStyle/>
                    <a:p>
                      <a:pPr>
                        <a:defRPr sz="800">
                          <a:latin typeface="Calibri"/>
                        </a:defRPr>
                      </a:pPr>
                      <a:r>
                        <a:t>Bid I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defRPr sz="800">
                          <a:latin typeface="Calibri"/>
                        </a:defRPr>
                      </a:pPr>
                      <a:r>
                        <a:t># of Items</a:t>
                      </a:r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>
                        <a:defRPr sz="800">
                          <a:latin typeface="Calibri"/>
                        </a:defRPr>
                      </a:pPr>
                      <a:r>
                        <a:t>Supplier 1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>
                        <a:defRPr sz="800">
                          <a:latin typeface="Calibri"/>
                        </a:defRPr>
                      </a:pPr>
                      <a:endParaRPr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>
                        <a:defRPr sz="800">
                          <a:latin typeface="Calibri"/>
                        </a:defRPr>
                      </a:pPr>
                      <a:endParaRPr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>
                        <a:defRPr sz="800">
                          <a:latin typeface="Calibri"/>
                        </a:defRPr>
                      </a:pPr>
                      <a:endParaRPr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>
                        <a:defRPr sz="800">
                          <a:latin typeface="Calibri"/>
                        </a:defRPr>
                      </a:pPr>
                      <a:r>
                        <a:t>Supplier 2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>
                        <a:defRPr sz="800">
                          <a:latin typeface="Calibri"/>
                        </a:defRPr>
                      </a:pPr>
                      <a:endParaRPr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>
                        <a:defRPr sz="800">
                          <a:latin typeface="Calibri"/>
                        </a:defRPr>
                      </a:pPr>
                      <a:endParaRPr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>
                        <a:defRPr sz="800">
                          <a:latin typeface="Calibri"/>
                        </a:defRPr>
                      </a:pPr>
                      <a:endParaRPr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>
                        <a:defRPr sz="800">
                          <a:latin typeface="Calibri"/>
                        </a:defRPr>
                      </a:pPr>
                      <a:r>
                        <a:t>Supplier 3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>
                        <a:defRPr sz="800">
                          <a:latin typeface="Calibri"/>
                        </a:defRPr>
                      </a:pPr>
                      <a:endParaRPr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>
                        <a:defRPr sz="800">
                          <a:latin typeface="Calibri"/>
                        </a:defRPr>
                      </a:pPr>
                      <a:endParaRPr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>
                        <a:defRPr sz="800">
                          <a:latin typeface="Calibri"/>
                        </a:defRPr>
                      </a:pPr>
                      <a:endParaRPr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>
                        <a:defRPr sz="800">
                          <a:latin typeface="Calibri"/>
                        </a:defRPr>
                      </a:pPr>
                      <a:r>
                        <a:t>Supplier 4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>
                        <a:defRPr sz="800">
                          <a:latin typeface="Calibri"/>
                        </a:defRPr>
                      </a:pPr>
                      <a:endParaRPr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>
                        <a:defRPr sz="800">
                          <a:latin typeface="Calibri"/>
                        </a:defRPr>
                      </a:pPr>
                      <a:endParaRPr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>
                        <a:defRPr sz="800">
                          <a:latin typeface="Calibri"/>
                        </a:defRPr>
                      </a:pPr>
                      <a:endParaRPr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>
                        <a:defRPr sz="800">
                          <a:latin typeface="Calibri"/>
                        </a:defRPr>
                      </a:pPr>
                      <a:endParaRPr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defRPr sz="800">
                          <a:latin typeface="Calibri"/>
                        </a:defRPr>
                      </a:pPr>
                      <a:endParaRPr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>
                        <a:defRPr sz="800">
                          <a:latin typeface="Calibri"/>
                        </a:defRPr>
                      </a:pPr>
                      <a:r>
                        <a:t>Incumbent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>
                        <a:defRPr sz="800">
                          <a:latin typeface="Calibri"/>
                        </a:defRPr>
                      </a:pPr>
                      <a:endParaRPr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>
                        <a:defRPr sz="800">
                          <a:latin typeface="Calibri"/>
                        </a:defRPr>
                      </a:pPr>
                      <a:r>
                        <a:t>New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>
                        <a:defRPr sz="800">
                          <a:latin typeface="Calibri"/>
                        </a:defRPr>
                      </a:pPr>
                      <a:endParaRPr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>
                        <a:defRPr sz="800">
                          <a:latin typeface="Calibri"/>
                        </a:defRPr>
                      </a:pPr>
                      <a:r>
                        <a:t>Incumbent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>
                        <a:defRPr sz="800">
                          <a:latin typeface="Calibri"/>
                        </a:defRPr>
                      </a:pPr>
                      <a:endParaRPr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>
                        <a:defRPr sz="800">
                          <a:latin typeface="Calibri"/>
                        </a:defRPr>
                      </a:pPr>
                      <a:r>
                        <a:t>New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>
                        <a:defRPr sz="800">
                          <a:latin typeface="Calibri"/>
                        </a:defRPr>
                      </a:pPr>
                      <a:endParaRPr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>
                        <a:defRPr sz="800">
                          <a:latin typeface="Calibri"/>
                        </a:defRPr>
                      </a:pPr>
                      <a:r>
                        <a:t>Incumbent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>
                        <a:defRPr sz="800">
                          <a:latin typeface="Calibri"/>
                        </a:defRPr>
                      </a:pPr>
                      <a:endParaRPr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>
                        <a:defRPr sz="800">
                          <a:latin typeface="Calibri"/>
                        </a:defRPr>
                      </a:pPr>
                      <a:r>
                        <a:t>New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>
                        <a:defRPr sz="800">
                          <a:latin typeface="Calibri"/>
                        </a:defRPr>
                      </a:pPr>
                      <a:endParaRPr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>
                        <a:defRPr sz="800">
                          <a:latin typeface="Calibri"/>
                        </a:defRPr>
                      </a:pPr>
                      <a:r>
                        <a:t>Incumbent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>
                        <a:defRPr sz="800">
                          <a:latin typeface="Calibri"/>
                        </a:defRPr>
                      </a:pPr>
                      <a:endParaRPr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>
                        <a:defRPr sz="800">
                          <a:latin typeface="Calibri"/>
                        </a:defRPr>
                      </a:pPr>
                      <a:r>
                        <a:t>New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>
                        <a:defRPr sz="800">
                          <a:latin typeface="Calibri"/>
                        </a:defRPr>
                      </a:pPr>
                      <a:endParaRPr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>
                        <a:defRPr sz="800">
                          <a:latin typeface="Calibri"/>
                        </a:defRPr>
                      </a:pPr>
                      <a:endParaRPr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defRPr sz="800">
                          <a:latin typeface="Calibri"/>
                        </a:defRPr>
                      </a:pPr>
                      <a:endParaRPr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defRPr sz="800">
                          <a:latin typeface="Calibri"/>
                        </a:defRPr>
                      </a:pPr>
                      <a:r>
                        <a:t>Coun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defRPr sz="800">
                          <a:latin typeface="Calibri"/>
                        </a:defRPr>
                      </a:pPr>
                      <a:r>
                        <a:t>Tota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defRPr sz="800">
                          <a:latin typeface="Calibri"/>
                        </a:defRPr>
                      </a:pPr>
                      <a:r>
                        <a:t>Coun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defRPr sz="800">
                          <a:latin typeface="Calibri"/>
                        </a:defRPr>
                      </a:pPr>
                      <a:r>
                        <a:t>Tota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defRPr sz="800">
                          <a:latin typeface="Calibri"/>
                        </a:defRPr>
                      </a:pPr>
                      <a:r>
                        <a:t>Coun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defRPr sz="800">
                          <a:latin typeface="Calibri"/>
                        </a:defRPr>
                      </a:pPr>
                      <a:r>
                        <a:t>Tota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defRPr sz="800">
                          <a:latin typeface="Calibri"/>
                        </a:defRPr>
                      </a:pPr>
                      <a:r>
                        <a:t>Coun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defRPr sz="800">
                          <a:latin typeface="Calibri"/>
                        </a:defRPr>
                      </a:pPr>
                      <a:r>
                        <a:t>Tota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defRPr sz="800">
                          <a:latin typeface="Calibri"/>
                        </a:defRPr>
                      </a:pPr>
                      <a:r>
                        <a:t>Coun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defRPr sz="800">
                          <a:latin typeface="Calibri"/>
                        </a:defRPr>
                      </a:pPr>
                      <a:r>
                        <a:t>Tota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defRPr sz="800">
                          <a:latin typeface="Calibri"/>
                        </a:defRPr>
                      </a:pPr>
                      <a:r>
                        <a:t>Coun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defRPr sz="800">
                          <a:latin typeface="Calibri"/>
                        </a:defRPr>
                      </a:pPr>
                      <a:r>
                        <a:t>Tota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defRPr sz="800">
                          <a:latin typeface="Calibri"/>
                        </a:defRPr>
                      </a:pPr>
                      <a:r>
                        <a:t>Coun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defRPr sz="800">
                          <a:latin typeface="Calibri"/>
                        </a:defRPr>
                      </a:pPr>
                      <a:r>
                        <a:t>Tota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defRPr sz="800">
                          <a:latin typeface="Calibri"/>
                        </a:defRPr>
                      </a:pPr>
                      <a:r>
                        <a:t>Coun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defRPr sz="800">
                          <a:latin typeface="Calibri"/>
                        </a:defRPr>
                      </a:pPr>
                      <a:r>
                        <a:t>Total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>
                        <a:defRPr sz="800">
                          <a:latin typeface="Calibri"/>
                        </a:defRPr>
                      </a:pPr>
                      <a:r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defRPr sz="800">
                          <a:latin typeface="Calibri"/>
                        </a:defRPr>
                      </a:pPr>
                      <a:r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defRPr sz="800">
                          <a:latin typeface="Calibri"/>
                        </a:defRPr>
                      </a:pPr>
                      <a:r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defRPr sz="800">
                          <a:latin typeface="Calibri"/>
                        </a:defRPr>
                      </a:pPr>
                      <a:r>
                        <a:t>1</a:t>
                      </a:r>
                    </a:p>
                  </a:txBody>
                  <a:tcP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800">
                          <a:latin typeface="Calibri"/>
                        </a:defRPr>
                      </a:pPr>
                      <a:r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defRPr sz="800">
                          <a:latin typeface="Calibri"/>
                        </a:defRPr>
                      </a:pPr>
                      <a:r>
                        <a:t>0</a:t>
                      </a:r>
                    </a:p>
                  </a:txBody>
                  <a:tcP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800">
                          <a:latin typeface="Calibri"/>
                        </a:defRPr>
                      </a:pPr>
                      <a:r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defRPr sz="800">
                          <a:latin typeface="Calibri"/>
                        </a:defRPr>
                      </a:pPr>
                      <a:r>
                        <a:t>0</a:t>
                      </a:r>
                    </a:p>
                  </a:txBody>
                  <a:tcP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800">
                          <a:latin typeface="Calibri"/>
                        </a:defRPr>
                      </a:pPr>
                      <a:r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defRPr sz="800">
                          <a:latin typeface="Calibri"/>
                        </a:defRPr>
                      </a:pPr>
                      <a:r>
                        <a:t>1</a:t>
                      </a:r>
                    </a:p>
                  </a:txBody>
                  <a:tcP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800">
                          <a:latin typeface="Calibri"/>
                        </a:defRPr>
                      </a:pPr>
                      <a:r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defRPr sz="800">
                          <a:latin typeface="Calibri"/>
                        </a:defRPr>
                      </a:pPr>
                      <a:r>
                        <a:t>0</a:t>
                      </a:r>
                    </a:p>
                  </a:txBody>
                  <a:tcP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800">
                          <a:latin typeface="Calibri"/>
                        </a:defRPr>
                      </a:pPr>
                      <a:r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defRPr sz="800">
                          <a:latin typeface="Calibri"/>
                        </a:defRPr>
                      </a:pPr>
                      <a:r>
                        <a:t>1</a:t>
                      </a:r>
                    </a:p>
                  </a:txBody>
                  <a:tcP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800">
                          <a:latin typeface="Calibri"/>
                        </a:defRPr>
                      </a:pPr>
                      <a:r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defRPr sz="800">
                          <a:latin typeface="Calibri"/>
                        </a:defRPr>
                      </a:pPr>
                      <a:r>
                        <a:t>0</a:t>
                      </a:r>
                    </a:p>
                  </a:txBody>
                  <a:tcP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800">
                          <a:latin typeface="Calibri"/>
                        </a:defRPr>
                      </a:pPr>
                      <a:r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defRPr sz="800">
                          <a:latin typeface="Calibri"/>
                        </a:defRPr>
                      </a:pPr>
                      <a:r>
                        <a:t>1</a:t>
                      </a:r>
                    </a:p>
                  </a:txBody>
                  <a:tcPr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>
                        <a:defRPr sz="800">
                          <a:latin typeface="Calibri"/>
                        </a:defRPr>
                      </a:pPr>
                      <a:r>
                        <a:t>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defRPr sz="800">
                          <a:latin typeface="Calibri"/>
                        </a:defRPr>
                      </a:pPr>
                      <a:r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defRPr sz="800">
                          <a:latin typeface="Calibri"/>
                        </a:defRPr>
                      </a:pPr>
                      <a:r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defRPr sz="800">
                          <a:latin typeface="Calibri"/>
                        </a:defRPr>
                      </a:pPr>
                      <a:r>
                        <a:t>0</a:t>
                      </a:r>
                    </a:p>
                  </a:txBody>
                  <a:tcP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800">
                          <a:latin typeface="Calibri"/>
                        </a:defRPr>
                      </a:pPr>
                      <a:r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defRPr sz="800">
                          <a:latin typeface="Calibri"/>
                        </a:defRPr>
                      </a:pPr>
                      <a:r>
                        <a:t>1</a:t>
                      </a:r>
                    </a:p>
                  </a:txBody>
                  <a:tcP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800">
                          <a:latin typeface="Calibri"/>
                        </a:defRPr>
                      </a:pPr>
                      <a:r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defRPr sz="800">
                          <a:latin typeface="Calibri"/>
                        </a:defRPr>
                      </a:pPr>
                      <a:r>
                        <a:t>0</a:t>
                      </a:r>
                    </a:p>
                  </a:txBody>
                  <a:tcP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800">
                          <a:latin typeface="Calibri"/>
                        </a:defRPr>
                      </a:pPr>
                      <a:r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defRPr sz="800">
                          <a:latin typeface="Calibri"/>
                        </a:defRPr>
                      </a:pPr>
                      <a:r>
                        <a:t>1</a:t>
                      </a:r>
                    </a:p>
                  </a:txBody>
                  <a:tcP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800">
                          <a:latin typeface="Calibri"/>
                        </a:defRPr>
                      </a:pPr>
                      <a:r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defRPr sz="800">
                          <a:latin typeface="Calibri"/>
                        </a:defRPr>
                      </a:pPr>
                      <a:r>
                        <a:t>0</a:t>
                      </a:r>
                    </a:p>
                  </a:txBody>
                  <a:tcP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800">
                          <a:latin typeface="Calibri"/>
                        </a:defRPr>
                      </a:pPr>
                      <a:r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defRPr sz="800">
                          <a:latin typeface="Calibri"/>
                        </a:defRPr>
                      </a:pPr>
                      <a:r>
                        <a:t>1</a:t>
                      </a:r>
                    </a:p>
                  </a:txBody>
                  <a:tcP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800">
                          <a:latin typeface="Calibri"/>
                        </a:defRPr>
                      </a:pPr>
                      <a:r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defRPr sz="800">
                          <a:latin typeface="Calibri"/>
                        </a:defRPr>
                      </a:pPr>
                      <a:r>
                        <a:t>0</a:t>
                      </a:r>
                    </a:p>
                  </a:txBody>
                  <a:tcP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800">
                          <a:latin typeface="Calibri"/>
                        </a:defRPr>
                      </a:pPr>
                      <a:r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defRPr sz="800">
                          <a:latin typeface="Calibri"/>
                        </a:defRPr>
                      </a:pPr>
                      <a:r>
                        <a:t>1</a:t>
                      </a:r>
                    </a:p>
                  </a:txBody>
                  <a:tcPr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>
                        <a:defRPr sz="800">
                          <a:latin typeface="Calibri"/>
                        </a:defRPr>
                      </a:pPr>
                      <a:r>
                        <a:t>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defRPr sz="800">
                          <a:latin typeface="Calibri"/>
                        </a:defRPr>
                      </a:pPr>
                      <a:r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defRPr sz="800">
                          <a:latin typeface="Calibri"/>
                        </a:defRPr>
                      </a:pPr>
                      <a:r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defRPr sz="800">
                          <a:latin typeface="Calibri"/>
                        </a:defRPr>
                      </a:pPr>
                      <a:r>
                        <a:t>0</a:t>
                      </a:r>
                    </a:p>
                  </a:txBody>
                  <a:tcP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800">
                          <a:latin typeface="Calibri"/>
                        </a:defRPr>
                      </a:pPr>
                      <a:r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defRPr sz="800">
                          <a:latin typeface="Calibri"/>
                        </a:defRPr>
                      </a:pPr>
                      <a:r>
                        <a:t>1</a:t>
                      </a:r>
                    </a:p>
                  </a:txBody>
                  <a:tcP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800">
                          <a:latin typeface="Calibri"/>
                        </a:defRPr>
                      </a:pPr>
                      <a:r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defRPr sz="800">
                          <a:latin typeface="Calibri"/>
                        </a:defRPr>
                      </a:pPr>
                      <a:r>
                        <a:t>0</a:t>
                      </a:r>
                    </a:p>
                  </a:txBody>
                  <a:tcP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800">
                          <a:latin typeface="Calibri"/>
                        </a:defRPr>
                      </a:pPr>
                      <a:r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defRPr sz="800">
                          <a:latin typeface="Calibri"/>
                        </a:defRPr>
                      </a:pPr>
                      <a:r>
                        <a:t>1</a:t>
                      </a:r>
                    </a:p>
                  </a:txBody>
                  <a:tcP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800">
                          <a:latin typeface="Calibri"/>
                        </a:defRPr>
                      </a:pPr>
                      <a:r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defRPr sz="800">
                          <a:latin typeface="Calibri"/>
                        </a:defRPr>
                      </a:pPr>
                      <a:r>
                        <a:t>0</a:t>
                      </a:r>
                    </a:p>
                  </a:txBody>
                  <a:tcP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800">
                          <a:latin typeface="Calibri"/>
                        </a:defRPr>
                      </a:pPr>
                      <a:r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defRPr sz="800">
                          <a:latin typeface="Calibri"/>
                        </a:defRPr>
                      </a:pPr>
                      <a:r>
                        <a:t>1</a:t>
                      </a:r>
                    </a:p>
                  </a:txBody>
                  <a:tcP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800">
                          <a:latin typeface="Calibri"/>
                        </a:defRPr>
                      </a:pPr>
                      <a:r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defRPr sz="800">
                          <a:latin typeface="Calibri"/>
                        </a:defRPr>
                      </a:pPr>
                      <a:r>
                        <a:t>1</a:t>
                      </a:r>
                    </a:p>
                  </a:txBody>
                  <a:tcP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800">
                          <a:latin typeface="Calibri"/>
                        </a:defRPr>
                      </a:pPr>
                      <a:r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defRPr sz="800">
                          <a:latin typeface="Calibri"/>
                        </a:defRPr>
                      </a:pPr>
                      <a:r>
                        <a:t>0</a:t>
                      </a:r>
                    </a:p>
                  </a:txBody>
                  <a:tcPr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>
                        <a:defRPr sz="800">
                          <a:latin typeface="Calibri"/>
                        </a:defRPr>
                      </a:pPr>
                      <a:r>
                        <a:t>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defRPr sz="800">
                          <a:latin typeface="Calibri"/>
                        </a:defRPr>
                      </a:pPr>
                      <a:r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defRPr sz="800">
                          <a:latin typeface="Calibri"/>
                        </a:defRPr>
                      </a:pPr>
                      <a:r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defRPr sz="800">
                          <a:latin typeface="Calibri"/>
                        </a:defRPr>
                      </a:pPr>
                      <a:r>
                        <a:t>0</a:t>
                      </a:r>
                    </a:p>
                  </a:txBody>
                  <a:tcP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800">
                          <a:latin typeface="Calibri"/>
                        </a:defRPr>
                      </a:pPr>
                      <a:r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defRPr sz="800">
                          <a:latin typeface="Calibri"/>
                        </a:defRPr>
                      </a:pPr>
                      <a:r>
                        <a:t>1</a:t>
                      </a:r>
                    </a:p>
                  </a:txBody>
                  <a:tcP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800">
                          <a:latin typeface="Calibri"/>
                        </a:defRPr>
                      </a:pPr>
                      <a:r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defRPr sz="800">
                          <a:latin typeface="Calibri"/>
                        </a:defRPr>
                      </a:pPr>
                      <a:r>
                        <a:t>1</a:t>
                      </a:r>
                    </a:p>
                  </a:txBody>
                  <a:tcP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800">
                          <a:latin typeface="Calibri"/>
                        </a:defRPr>
                      </a:pPr>
                      <a:r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defRPr sz="800">
                          <a:latin typeface="Calibri"/>
                        </a:defRPr>
                      </a:pPr>
                      <a:r>
                        <a:t>0</a:t>
                      </a:r>
                    </a:p>
                  </a:txBody>
                  <a:tcP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800">
                          <a:latin typeface="Calibri"/>
                        </a:defRPr>
                      </a:pPr>
                      <a:r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defRPr sz="800">
                          <a:latin typeface="Calibri"/>
                        </a:defRPr>
                      </a:pPr>
                      <a:r>
                        <a:t>0</a:t>
                      </a:r>
                    </a:p>
                  </a:txBody>
                  <a:tcP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800">
                          <a:latin typeface="Calibri"/>
                        </a:defRPr>
                      </a:pPr>
                      <a:r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defRPr sz="800">
                          <a:latin typeface="Calibri"/>
                        </a:defRPr>
                      </a:pPr>
                      <a:r>
                        <a:t>1</a:t>
                      </a:r>
                    </a:p>
                  </a:txBody>
                  <a:tcP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800">
                          <a:latin typeface="Calibri"/>
                        </a:defRPr>
                      </a:pPr>
                      <a:r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defRPr sz="800">
                          <a:latin typeface="Calibri"/>
                        </a:defRPr>
                      </a:pPr>
                      <a:r>
                        <a:t>0</a:t>
                      </a:r>
                    </a:p>
                  </a:txBody>
                  <a:tcP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800">
                          <a:latin typeface="Calibri"/>
                        </a:defRPr>
                      </a:pPr>
                      <a:r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defRPr sz="800">
                          <a:latin typeface="Calibri"/>
                        </a:defRPr>
                      </a:pPr>
                      <a:r>
                        <a:t>1</a:t>
                      </a:r>
                    </a:p>
                  </a:txBody>
                  <a:tcPr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>
                        <a:defRPr sz="800">
                          <a:latin typeface="Calibri"/>
                        </a:defRPr>
                      </a:pPr>
                      <a:r>
                        <a:t>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defRPr sz="800">
                          <a:latin typeface="Calibri"/>
                        </a:defRPr>
                      </a:pPr>
                      <a:r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defRPr sz="800">
                          <a:latin typeface="Calibri"/>
                        </a:defRPr>
                      </a:pPr>
                      <a:r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defRPr sz="800">
                          <a:latin typeface="Calibri"/>
                        </a:defRPr>
                      </a:pPr>
                      <a:r>
                        <a:t>0</a:t>
                      </a:r>
                    </a:p>
                  </a:txBody>
                  <a:tcP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800">
                          <a:latin typeface="Calibri"/>
                        </a:defRPr>
                      </a:pPr>
                      <a:r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defRPr sz="800">
                          <a:latin typeface="Calibri"/>
                        </a:defRPr>
                      </a:pPr>
                      <a:r>
                        <a:t>1</a:t>
                      </a:r>
                    </a:p>
                  </a:txBody>
                  <a:tcP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800">
                          <a:latin typeface="Calibri"/>
                        </a:defRPr>
                      </a:pPr>
                      <a:r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defRPr sz="800">
                          <a:latin typeface="Calibri"/>
                        </a:defRPr>
                      </a:pPr>
                      <a:r>
                        <a:t>0</a:t>
                      </a:r>
                    </a:p>
                  </a:txBody>
                  <a:tcP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800">
                          <a:latin typeface="Calibri"/>
                        </a:defRPr>
                      </a:pPr>
                      <a:r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defRPr sz="800">
                          <a:latin typeface="Calibri"/>
                        </a:defRPr>
                      </a:pPr>
                      <a:r>
                        <a:t>1</a:t>
                      </a:r>
                    </a:p>
                  </a:txBody>
                  <a:tcP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800">
                          <a:latin typeface="Calibri"/>
                        </a:defRPr>
                      </a:pPr>
                      <a:r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defRPr sz="800">
                          <a:latin typeface="Calibri"/>
                        </a:defRPr>
                      </a:pPr>
                      <a:r>
                        <a:t>0</a:t>
                      </a:r>
                    </a:p>
                  </a:txBody>
                  <a:tcP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800">
                          <a:latin typeface="Calibri"/>
                        </a:defRPr>
                      </a:pPr>
                      <a:r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defRPr sz="800">
                          <a:latin typeface="Calibri"/>
                        </a:defRPr>
                      </a:pPr>
                      <a:r>
                        <a:t>1</a:t>
                      </a:r>
                    </a:p>
                  </a:txBody>
                  <a:tcP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800">
                          <a:latin typeface="Calibri"/>
                        </a:defRPr>
                      </a:pPr>
                      <a:r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defRPr sz="800">
                          <a:latin typeface="Calibri"/>
                        </a:defRPr>
                      </a:pPr>
                      <a:r>
                        <a:t>0</a:t>
                      </a:r>
                    </a:p>
                  </a:txBody>
                  <a:tcP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800">
                          <a:latin typeface="Calibri"/>
                        </a:defRPr>
                      </a:pPr>
                      <a:r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defRPr sz="800">
                          <a:latin typeface="Calibri"/>
                        </a:defRPr>
                      </a:pPr>
                      <a:r>
                        <a:t>1</a:t>
                      </a:r>
                    </a:p>
                  </a:txBody>
                  <a:tcPr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>
                        <a:defRPr sz="800">
                          <a:latin typeface="Calibri"/>
                        </a:defRPr>
                      </a:pPr>
                      <a:r>
                        <a:t>Total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defRPr sz="800">
                          <a:latin typeface="Calibri"/>
                        </a:defRPr>
                      </a:pPr>
                      <a:r>
                        <a:t>5</a:t>
                      </a:r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>
                        <a:defRPr sz="800">
                          <a:latin typeface="Calibri"/>
                        </a:defRPr>
                      </a:pPr>
                      <a:r>
                        <a:t>100%</a:t>
                      </a:r>
                    </a:p>
                  </a:txBody>
                  <a:tcPr>
                    <a:solidFill>
                      <a:srgbClr val="D9D9D9"/>
                    </a:solidFill>
                  </a:tcPr>
                </a:tc>
                <a:tc hMerge="1">
                  <a:txBody>
                    <a:bodyPr/>
                    <a:lstStyle/>
                    <a:p>
                      <a:pPr>
                        <a:defRPr sz="800">
                          <a:latin typeface="Calibri"/>
                        </a:defRPr>
                      </a:pPr>
                      <a:endParaRPr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>
                        <a:defRPr sz="800">
                          <a:latin typeface="Calibri"/>
                        </a:defRPr>
                      </a:pPr>
                      <a:r>
                        <a:t>100%</a:t>
                      </a:r>
                    </a:p>
                  </a:txBody>
                  <a:tcPr>
                    <a:solidFill>
                      <a:srgbClr val="D9D9D9"/>
                    </a:solidFill>
                  </a:tcPr>
                </a:tc>
                <a:tc hMerge="1">
                  <a:txBody>
                    <a:bodyPr/>
                    <a:lstStyle/>
                    <a:p>
                      <a:pPr>
                        <a:defRPr sz="800">
                          <a:latin typeface="Calibri"/>
                        </a:defRPr>
                      </a:pPr>
                      <a:endParaRPr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>
                        <a:defRPr sz="800">
                          <a:latin typeface="Calibri"/>
                        </a:defRPr>
                      </a:pPr>
                      <a:r>
                        <a:t>100%</a:t>
                      </a:r>
                    </a:p>
                  </a:txBody>
                  <a:tcPr>
                    <a:solidFill>
                      <a:srgbClr val="D9D9D9"/>
                    </a:solidFill>
                  </a:tcPr>
                </a:tc>
                <a:tc hMerge="1">
                  <a:txBody>
                    <a:bodyPr/>
                    <a:lstStyle/>
                    <a:p>
                      <a:pPr>
                        <a:defRPr sz="800">
                          <a:latin typeface="Calibri"/>
                        </a:defRPr>
                      </a:pPr>
                      <a:endParaRPr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>
                        <a:defRPr sz="800">
                          <a:latin typeface="Calibri"/>
                        </a:defRPr>
                      </a:pPr>
                      <a:r>
                        <a:t>100%</a:t>
                      </a:r>
                    </a:p>
                  </a:txBody>
                  <a:tcPr>
                    <a:solidFill>
                      <a:srgbClr val="D9D9D9"/>
                    </a:solidFill>
                  </a:tcPr>
                </a:tc>
                <a:tc hMerge="1">
                  <a:txBody>
                    <a:bodyPr/>
                    <a:lstStyle/>
                    <a:p>
                      <a:pPr>
                        <a:defRPr sz="800">
                          <a:latin typeface="Calibri"/>
                        </a:defRPr>
                      </a:pPr>
                      <a:endParaRPr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>
                        <a:defRPr sz="800">
                          <a:latin typeface="Calibri"/>
                        </a:defRPr>
                      </a:pPr>
                      <a:r>
                        <a:t>0%</a:t>
                      </a:r>
                    </a:p>
                  </a:txBody>
                  <a:tcPr>
                    <a:solidFill>
                      <a:srgbClr val="D9D9D9"/>
                    </a:solidFill>
                  </a:tcPr>
                </a:tc>
                <a:tc hMerge="1">
                  <a:txBody>
                    <a:bodyPr/>
                    <a:lstStyle/>
                    <a:p>
                      <a:pPr>
                        <a:defRPr sz="800">
                          <a:latin typeface="Calibri"/>
                        </a:defRPr>
                      </a:pPr>
                      <a:endParaRPr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>
                        <a:defRPr sz="800">
                          <a:latin typeface="Calibri"/>
                        </a:defRPr>
                      </a:pPr>
                      <a:r>
                        <a:t>100%</a:t>
                      </a:r>
                    </a:p>
                  </a:txBody>
                  <a:tcPr>
                    <a:solidFill>
                      <a:srgbClr val="D9D9D9"/>
                    </a:solidFill>
                  </a:tcPr>
                </a:tc>
                <a:tc hMerge="1">
                  <a:txBody>
                    <a:bodyPr/>
                    <a:lstStyle/>
                    <a:p>
                      <a:pPr>
                        <a:defRPr sz="800">
                          <a:latin typeface="Calibri"/>
                        </a:defRPr>
                      </a:pPr>
                      <a:endParaRPr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>
                        <a:defRPr sz="800">
                          <a:latin typeface="Calibri"/>
                        </a:defRPr>
                      </a:pPr>
                      <a:r>
                        <a:t>100%</a:t>
                      </a:r>
                    </a:p>
                  </a:txBody>
                  <a:tcPr>
                    <a:solidFill>
                      <a:srgbClr val="D9D9D9"/>
                    </a:solidFill>
                  </a:tcPr>
                </a:tc>
                <a:tc hMerge="1">
                  <a:txBody>
                    <a:bodyPr/>
                    <a:lstStyle/>
                    <a:p>
                      <a:pPr>
                        <a:defRPr sz="800">
                          <a:latin typeface="Calibri"/>
                        </a:defRPr>
                      </a:pPr>
                      <a:endParaRPr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>
                        <a:defRPr sz="800">
                          <a:latin typeface="Calibri"/>
                        </a:defRPr>
                      </a:pPr>
                      <a:r>
                        <a:t>100%</a:t>
                      </a:r>
                    </a:p>
                  </a:txBody>
                  <a:tcPr>
                    <a:solidFill>
                      <a:srgbClr val="D9D9D9"/>
                    </a:solidFill>
                  </a:tcPr>
                </a:tc>
                <a:tc hMerge="1">
                  <a:txBody>
                    <a:bodyPr/>
                    <a:lstStyle/>
                    <a:p>
                      <a:pPr>
                        <a:defRPr sz="800">
                          <a:latin typeface="Calibri"/>
                        </a:defRPr>
                      </a:pPr>
                      <a:endParaRPr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</a:tbl>
          </a:graphicData>
        </a:graphic>
      </p:graphicFrame>
      <p:graphicFrame>
        <p:nvGraphicFramePr>
          <p:cNvPr id="4" name="Table 3"/>
          <p:cNvGraphicFramePr>
            <a:graphicFrameLocks noGrp="1"/>
          </p:cNvGraphicFramePr>
          <p:nvPr/>
        </p:nvGraphicFramePr>
        <p:xfrm>
          <a:off x="457200" y="3543300"/>
          <a:ext cx="10972800" cy="17145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144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572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4003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4003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240030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2400300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190500">
                <a:tc>
                  <a:txBody>
                    <a:bodyPr/>
                    <a:lstStyle/>
                    <a:p>
                      <a:pPr>
                        <a:defRPr sz="800">
                          <a:latin typeface="Calibri"/>
                        </a:defRPr>
                      </a:pPr>
                      <a:r>
                        <a:t>Bid I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defRPr sz="800">
                          <a:latin typeface="Calibri"/>
                        </a:defRPr>
                      </a:pPr>
                      <a:r>
                        <a:t># of Items</a:t>
                      </a:r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>
                        <a:defRPr sz="800">
                          <a:latin typeface="Calibri"/>
                        </a:defRPr>
                      </a:pPr>
                      <a:r>
                        <a:t>Supplier 5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>
                        <a:defRPr sz="800">
                          <a:latin typeface="Calibri"/>
                        </a:defRPr>
                      </a:pPr>
                      <a:endParaRPr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>
                        <a:defRPr sz="800">
                          <a:latin typeface="Calibri"/>
                        </a:defRPr>
                      </a:pPr>
                      <a:endParaRPr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>
                        <a:defRPr sz="800">
                          <a:latin typeface="Calibri"/>
                        </a:defRPr>
                      </a:pPr>
                      <a:endParaRPr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>
                        <a:defRPr sz="800">
                          <a:latin typeface="Calibri"/>
                        </a:defRPr>
                      </a:pPr>
                      <a:endParaRPr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defRPr sz="800">
                          <a:latin typeface="Calibri"/>
                        </a:defRPr>
                      </a:pPr>
                      <a:endParaRPr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>
                        <a:defRPr sz="800">
                          <a:latin typeface="Calibri"/>
                        </a:defRPr>
                      </a:pPr>
                      <a:r>
                        <a:t>Incumbent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>
                        <a:defRPr sz="800">
                          <a:latin typeface="Calibri"/>
                        </a:defRPr>
                      </a:pPr>
                      <a:endParaRPr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>
                        <a:defRPr sz="800">
                          <a:latin typeface="Calibri"/>
                        </a:defRPr>
                      </a:pPr>
                      <a:r>
                        <a:t>New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>
                        <a:defRPr sz="800">
                          <a:latin typeface="Calibri"/>
                        </a:defRPr>
                      </a:pPr>
                      <a:endParaRPr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>
                        <a:defRPr sz="800">
                          <a:latin typeface="Calibri"/>
                        </a:defRPr>
                      </a:pPr>
                      <a:endParaRPr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defRPr sz="800">
                          <a:latin typeface="Calibri"/>
                        </a:defRPr>
                      </a:pPr>
                      <a:endParaRPr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defRPr sz="800">
                          <a:latin typeface="Calibri"/>
                        </a:defRPr>
                      </a:pPr>
                      <a:r>
                        <a:t>Coun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defRPr sz="800">
                          <a:latin typeface="Calibri"/>
                        </a:defRPr>
                      </a:pPr>
                      <a:r>
                        <a:t>Tota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defRPr sz="800">
                          <a:latin typeface="Calibri"/>
                        </a:defRPr>
                      </a:pPr>
                      <a:r>
                        <a:t>Coun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defRPr sz="800">
                          <a:latin typeface="Calibri"/>
                        </a:defRPr>
                      </a:pPr>
                      <a:r>
                        <a:t>Total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>
                        <a:defRPr sz="800">
                          <a:latin typeface="Calibri"/>
                        </a:defRPr>
                      </a:pPr>
                      <a:r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defRPr sz="800">
                          <a:latin typeface="Calibri"/>
                        </a:defRPr>
                      </a:pPr>
                      <a:r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defRPr sz="800">
                          <a:latin typeface="Calibri"/>
                        </a:defRPr>
                      </a:pPr>
                      <a:r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defRPr sz="800">
                          <a:latin typeface="Calibri"/>
                        </a:defRPr>
                      </a:pPr>
                      <a:r>
                        <a:t>0</a:t>
                      </a:r>
                    </a:p>
                  </a:txBody>
                  <a:tcP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800">
                          <a:latin typeface="Calibri"/>
                        </a:defRPr>
                      </a:pPr>
                      <a:r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defRPr sz="800">
                          <a:latin typeface="Calibri"/>
                        </a:defRPr>
                      </a:pPr>
                      <a:r>
                        <a:t>1</a:t>
                      </a:r>
                    </a:p>
                  </a:txBody>
                  <a:tcPr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>
                        <a:defRPr sz="800">
                          <a:latin typeface="Calibri"/>
                        </a:defRPr>
                      </a:pPr>
                      <a:r>
                        <a:t>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defRPr sz="800">
                          <a:latin typeface="Calibri"/>
                        </a:defRPr>
                      </a:pPr>
                      <a:r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defRPr sz="800">
                          <a:latin typeface="Calibri"/>
                        </a:defRPr>
                      </a:pPr>
                      <a:r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defRPr sz="800">
                          <a:latin typeface="Calibri"/>
                        </a:defRPr>
                      </a:pPr>
                      <a:r>
                        <a:t>0</a:t>
                      </a:r>
                    </a:p>
                  </a:txBody>
                  <a:tcP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800">
                          <a:latin typeface="Calibri"/>
                        </a:defRPr>
                      </a:pPr>
                      <a:r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defRPr sz="800">
                          <a:latin typeface="Calibri"/>
                        </a:defRPr>
                      </a:pPr>
                      <a:r>
                        <a:t>1</a:t>
                      </a:r>
                    </a:p>
                  </a:txBody>
                  <a:tcPr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>
                        <a:defRPr sz="800">
                          <a:latin typeface="Calibri"/>
                        </a:defRPr>
                      </a:pPr>
                      <a:r>
                        <a:t>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defRPr sz="800">
                          <a:latin typeface="Calibri"/>
                        </a:defRPr>
                      </a:pPr>
                      <a:r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defRPr sz="800">
                          <a:latin typeface="Calibri"/>
                        </a:defRPr>
                      </a:pPr>
                      <a:r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defRPr sz="800">
                          <a:latin typeface="Calibri"/>
                        </a:defRPr>
                      </a:pPr>
                      <a:r>
                        <a:t>0</a:t>
                      </a:r>
                    </a:p>
                  </a:txBody>
                  <a:tcP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800">
                          <a:latin typeface="Calibri"/>
                        </a:defRPr>
                      </a:pPr>
                      <a:r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defRPr sz="800">
                          <a:latin typeface="Calibri"/>
                        </a:defRPr>
                      </a:pPr>
                      <a:r>
                        <a:t>1</a:t>
                      </a:r>
                    </a:p>
                  </a:txBody>
                  <a:tcPr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>
                        <a:defRPr sz="800">
                          <a:latin typeface="Calibri"/>
                        </a:defRPr>
                      </a:pPr>
                      <a:r>
                        <a:t>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defRPr sz="800">
                          <a:latin typeface="Calibri"/>
                        </a:defRPr>
                      </a:pPr>
                      <a:r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defRPr sz="800">
                          <a:latin typeface="Calibri"/>
                        </a:defRPr>
                      </a:pPr>
                      <a:r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defRPr sz="800">
                          <a:latin typeface="Calibri"/>
                        </a:defRPr>
                      </a:pPr>
                      <a:r>
                        <a:t>0</a:t>
                      </a:r>
                    </a:p>
                  </a:txBody>
                  <a:tcP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800">
                          <a:latin typeface="Calibri"/>
                        </a:defRPr>
                      </a:pPr>
                      <a:r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defRPr sz="800">
                          <a:latin typeface="Calibri"/>
                        </a:defRPr>
                      </a:pPr>
                      <a:r>
                        <a:t>1</a:t>
                      </a:r>
                    </a:p>
                  </a:txBody>
                  <a:tcPr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>
                        <a:defRPr sz="800">
                          <a:latin typeface="Calibri"/>
                        </a:defRPr>
                      </a:pPr>
                      <a:r>
                        <a:t>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defRPr sz="800">
                          <a:latin typeface="Calibri"/>
                        </a:defRPr>
                      </a:pPr>
                      <a:r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defRPr sz="800">
                          <a:latin typeface="Calibri"/>
                        </a:defRPr>
                      </a:pPr>
                      <a:r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defRPr sz="800">
                          <a:latin typeface="Calibri"/>
                        </a:defRPr>
                      </a:pPr>
                      <a:r>
                        <a:t>0</a:t>
                      </a:r>
                    </a:p>
                  </a:txBody>
                  <a:tcP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defRPr sz="800">
                          <a:latin typeface="Calibri"/>
                        </a:defRPr>
                      </a:pPr>
                      <a:r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defRPr sz="800">
                          <a:latin typeface="Calibri"/>
                        </a:defRPr>
                      </a:pPr>
                      <a:r>
                        <a:t>1</a:t>
                      </a:r>
                    </a:p>
                  </a:txBody>
                  <a:tcPr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>
                        <a:defRPr sz="800">
                          <a:latin typeface="Calibri"/>
                        </a:defRPr>
                      </a:pPr>
                      <a:r>
                        <a:t>Total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defRPr sz="800">
                          <a:latin typeface="Calibri"/>
                        </a:defRPr>
                      </a:pPr>
                      <a:r>
                        <a:t>5</a:t>
                      </a:r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>
                        <a:defRPr sz="800">
                          <a:latin typeface="Calibri"/>
                        </a:defRPr>
                      </a:pPr>
                      <a:r>
                        <a:t>0%</a:t>
                      </a:r>
                    </a:p>
                  </a:txBody>
                  <a:tcPr>
                    <a:solidFill>
                      <a:srgbClr val="D9D9D9"/>
                    </a:solidFill>
                  </a:tcPr>
                </a:tc>
                <a:tc hMerge="1">
                  <a:txBody>
                    <a:bodyPr/>
                    <a:lstStyle/>
                    <a:p>
                      <a:pPr>
                        <a:defRPr sz="800">
                          <a:latin typeface="Calibri"/>
                        </a:defRPr>
                      </a:pPr>
                      <a:endParaRPr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>
                        <a:defRPr sz="800">
                          <a:latin typeface="Calibri"/>
                        </a:defRPr>
                      </a:pPr>
                      <a:r>
                        <a:t>100%</a:t>
                      </a:r>
                    </a:p>
                  </a:txBody>
                  <a:tcPr>
                    <a:solidFill>
                      <a:srgbClr val="D9D9D9"/>
                    </a:solidFill>
                  </a:tcPr>
                </a:tc>
                <a:tc hMerge="1">
                  <a:txBody>
                    <a:bodyPr/>
                    <a:lstStyle/>
                    <a:p>
                      <a:pPr>
                        <a:defRPr sz="800">
                          <a:latin typeface="Calibri"/>
                        </a:defRPr>
                      </a:pPr>
                      <a:endParaRPr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</a:tbl>
          </a:graphicData>
        </a:graphic>
      </p:graphicFrame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0" y="9144"/>
            <a:ext cx="11430000" cy="457200"/>
          </a:xfrm>
          <a:prstGeom prst="rect">
            <a:avLst/>
          </a:prstGeom>
          <a:noFill/>
          <a:ln>
            <a:noFill/>
          </a:ln>
        </p:spPr>
        <p:txBody>
          <a:bodyPr wrap="square" anchor="t">
            <a:spAutoFit/>
          </a:bodyPr>
          <a:lstStyle/>
          <a:p>
            <a:pPr>
              <a:defRPr sz="2500" b="1">
                <a:solidFill>
                  <a:srgbClr val="003399"/>
                </a:solidFill>
                <a:latin typeface="Calibri"/>
              </a:defRPr>
            </a:pPr>
            <a:r>
              <a:t>As-Is Scenario Details</a:t>
            </a:r>
          </a:p>
        </p:txBody>
      </p:sp>
      <p:graphicFrame>
        <p:nvGraphicFramePr>
          <p:cNvPr id="3" name="Chart 2"/>
          <p:cNvGraphicFramePr>
            <a:graphicFrameLocks noGrp="1"/>
          </p:cNvGraphicFramePr>
          <p:nvPr/>
        </p:nvGraphicFramePr>
        <p:xfrm>
          <a:off x="0" y="274320"/>
          <a:ext cx="8229600" cy="155448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4" name="Rectangle 3"/>
          <p:cNvSpPr/>
          <p:nvPr/>
        </p:nvSpPr>
        <p:spPr>
          <a:xfrm>
            <a:off x="10186416" y="594360"/>
            <a:ext cx="1828800" cy="9144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 sz="2000">
                <a:solidFill>
                  <a:srgbClr val="FFFFFF"/>
                </a:solidFill>
              </a:defRPr>
            </a:pPr>
            <a:r>
              <a:t># of Transitions</a:t>
            </a:r>
          </a:p>
          <a:p>
            <a:pPr algn="ctr">
              <a:defRPr sz="2000">
                <a:solidFill>
                  <a:srgbClr val="FFFFFF"/>
                </a:solidFill>
              </a:defRPr>
            </a:pPr>
            <a:r>
              <a:t>2</a:t>
            </a:r>
          </a:p>
        </p:txBody>
      </p:sp>
      <p:sp>
        <p:nvSpPr>
          <p:cNvPr id="5" name="Rectangle 4"/>
          <p:cNvSpPr/>
          <p:nvPr/>
        </p:nvSpPr>
        <p:spPr>
          <a:xfrm>
            <a:off x="8202168" y="594360"/>
            <a:ext cx="1828800" cy="9144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 sz="2000">
                <a:solidFill>
                  <a:srgbClr val="FFFFFF"/>
                </a:solidFill>
              </a:defRPr>
            </a:pPr>
            <a:r>
              <a:t># of items</a:t>
            </a:r>
          </a:p>
          <a:p>
            <a:pPr algn="ctr">
              <a:defRPr sz="2000">
                <a:solidFill>
                  <a:srgbClr val="FFFFFF"/>
                </a:solidFill>
              </a:defRPr>
            </a:pPr>
            <a:r>
              <a:t>5</a:t>
            </a:r>
          </a:p>
        </p:txBody>
      </p:sp>
      <p:graphicFrame>
        <p:nvGraphicFramePr>
          <p:cNvPr id="6" name="Table 5"/>
          <p:cNvGraphicFramePr>
            <a:graphicFrameLocks noGrp="1"/>
          </p:cNvGraphicFramePr>
          <p:nvPr/>
        </p:nvGraphicFramePr>
        <p:xfrm>
          <a:off x="457200" y="1828800"/>
          <a:ext cx="11633200" cy="526694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700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2700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3716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2700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27000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371600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1270000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1270000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1270000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</a:tblGrid>
              <a:tr h="347472">
                <a:tc>
                  <a:txBody>
                    <a:bodyPr/>
                    <a:lstStyle/>
                    <a:p>
                      <a:pPr algn="ctr">
                        <a:defRPr sz="1200" b="1">
                          <a:latin typeface="Calibri"/>
                        </a:defRPr>
                      </a:pPr>
                      <a:r>
                        <a:t>Bid I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1200" b="1">
                          <a:latin typeface="Calibri"/>
                        </a:defRPr>
                      </a:pPr>
                      <a:r>
                        <a:t>Bid Volum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1200" b="1">
                          <a:latin typeface="Calibri"/>
                        </a:defRPr>
                      </a:pPr>
                      <a:r>
                        <a:t>Incumben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1200" b="1">
                          <a:latin typeface="Calibri"/>
                        </a:defRPr>
                      </a:pPr>
                      <a:r>
                        <a:t>Avg Current Pric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1200" b="1">
                          <a:latin typeface="Calibri"/>
                        </a:defRPr>
                      </a:pPr>
                      <a:r>
                        <a:t>Current Spe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1200" b="1">
                          <a:latin typeface="Calibri"/>
                        </a:defRPr>
                      </a:pPr>
                      <a:r>
                        <a:t>Awarded Suppli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1200" b="1">
                          <a:latin typeface="Calibri"/>
                        </a:defRPr>
                      </a:pPr>
                      <a:r>
                        <a:t>Avg Bid Pric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1200" b="1">
                          <a:latin typeface="Calibri"/>
                        </a:defRPr>
                      </a:pPr>
                      <a:r>
                        <a:t>Bid Spe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1200" b="1">
                          <a:latin typeface="Calibri"/>
                        </a:defRPr>
                      </a:pPr>
                      <a:r>
                        <a:t>Current Saving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914400">
                <a:tc>
                  <a:txBody>
                    <a:bodyPr/>
                    <a:lstStyle/>
                    <a:p>
                      <a:pPr algn="ctr">
                        <a:defRPr sz="1000">
                          <a:latin typeface="Calibri"/>
                        </a:defRPr>
                      </a:pPr>
                      <a:r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latin typeface="Calibri"/>
                        </a:defRPr>
                      </a:pPr>
                      <a:r>
                        <a:t>3,437,45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latin typeface="Calibri"/>
                        </a:defRPr>
                      </a:pPr>
                      <a:r>
                        <a:t>$0.1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latin typeface="Calibri"/>
                        </a:defRPr>
                      </a:pPr>
                      <a:r>
                        <a:t>$0.4M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latin typeface="Calibri"/>
                        </a:defRPr>
                      </a:pPr>
                      <a:r>
                        <a:t>$0.0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latin typeface="Calibri"/>
                        </a:defRPr>
                      </a:pPr>
                      <a:r>
                        <a:t>$0.2M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latin typeface="Calibri"/>
                        </a:defRPr>
                      </a:pPr>
                      <a:r>
                        <a:t>$0.2MM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914400">
                <a:tc>
                  <a:txBody>
                    <a:bodyPr/>
                    <a:lstStyle/>
                    <a:p>
                      <a:pPr algn="ctr">
                        <a:defRPr sz="1000">
                          <a:latin typeface="Calibri"/>
                        </a:defRPr>
                      </a:pPr>
                      <a:r>
                        <a:t>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latin typeface="Calibri"/>
                        </a:defRPr>
                      </a:pPr>
                      <a:r>
                        <a:t>3,001,11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latin typeface="Calibri"/>
                        </a:defRPr>
                      </a:pPr>
                      <a:r>
                        <a:t>$0.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latin typeface="Calibri"/>
                        </a:defRPr>
                      </a:pPr>
                      <a:r>
                        <a:t>$0.0M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latin typeface="Calibri"/>
                        </a:defRPr>
                      </a:pPr>
                      <a:r>
                        <a:t>$0.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latin typeface="Calibri"/>
                        </a:defRPr>
                      </a:pPr>
                      <a:r>
                        <a:t>$0.0M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latin typeface="Calibri"/>
                        </a:defRPr>
                      </a:pPr>
                      <a:r>
                        <a:t>$0.0MM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914400">
                <a:tc>
                  <a:txBody>
                    <a:bodyPr/>
                    <a:lstStyle/>
                    <a:p>
                      <a:pPr algn="ctr">
                        <a:defRPr sz="1000">
                          <a:latin typeface="Calibri"/>
                        </a:defRPr>
                      </a:pPr>
                      <a:r>
                        <a:t>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latin typeface="Calibri"/>
                        </a:defRPr>
                      </a:pPr>
                      <a:r>
                        <a:t>24,0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latin typeface="Calibri"/>
                        </a:defRPr>
                      </a:pPr>
                      <a:r>
                        <a:t>$0.89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latin typeface="Calibri"/>
                        </a:defRPr>
                      </a:pPr>
                      <a:r>
                        <a:t>$0.0M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latin typeface="Calibri"/>
                        </a:defRPr>
                      </a:pPr>
                      <a:r>
                        <a:t>$0.8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latin typeface="Calibri"/>
                        </a:defRPr>
                      </a:pPr>
                      <a:r>
                        <a:t>$0.0M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latin typeface="Calibri"/>
                        </a:defRPr>
                      </a:pPr>
                      <a:r>
                        <a:t>$0.0MM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914400">
                <a:tc>
                  <a:txBody>
                    <a:bodyPr/>
                    <a:lstStyle/>
                    <a:p>
                      <a:pPr algn="ctr">
                        <a:defRPr sz="1000">
                          <a:latin typeface="Calibri"/>
                        </a:defRPr>
                      </a:pPr>
                      <a:r>
                        <a:t>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latin typeface="Calibri"/>
                        </a:defRPr>
                      </a:pPr>
                      <a:r>
                        <a:t>357,8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latin typeface="Calibri"/>
                        </a:defRPr>
                      </a:pPr>
                      <a:r>
                        <a:t>$1.3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latin typeface="Calibri"/>
                        </a:defRPr>
                      </a:pPr>
                      <a:r>
                        <a:t>$0.5M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latin typeface="Calibri"/>
                        </a:defRPr>
                      </a:pPr>
                      <a:r>
                        <a:t>$1.4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latin typeface="Calibri"/>
                        </a:defRPr>
                      </a:pPr>
                      <a:r>
                        <a:t>$0.5M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latin typeface="Calibri"/>
                        </a:defRPr>
                      </a:pPr>
                      <a:r>
                        <a:t>($0.0MM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914400">
                <a:tc>
                  <a:txBody>
                    <a:bodyPr/>
                    <a:lstStyle/>
                    <a:p>
                      <a:pPr algn="ctr">
                        <a:defRPr sz="1000">
                          <a:latin typeface="Calibri"/>
                        </a:defRPr>
                      </a:pPr>
                      <a:r>
                        <a:t>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latin typeface="Calibri"/>
                        </a:defRPr>
                      </a:pPr>
                      <a:r>
                        <a:t>45,0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latin typeface="Calibri"/>
                        </a:defRPr>
                      </a:pPr>
                      <a:r>
                        <a:t>$0.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latin typeface="Calibri"/>
                        </a:defRPr>
                      </a:pPr>
                      <a:r>
                        <a:t>$0.0M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latin typeface="Calibri"/>
                        </a:defRPr>
                      </a:pPr>
                      <a:r>
                        <a:t>$0.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latin typeface="Calibri"/>
                        </a:defRPr>
                      </a:pPr>
                      <a:r>
                        <a:t>$0.0M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latin typeface="Calibri"/>
                        </a:defRPr>
                      </a:pPr>
                      <a:r>
                        <a:t>$0.0MM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47472">
                <a:tc>
                  <a:txBody>
                    <a:bodyPr/>
                    <a:lstStyle/>
                    <a:p>
                      <a:pPr algn="ctr">
                        <a:defRPr sz="1000" b="1">
                          <a:latin typeface="Calibri"/>
                        </a:defRPr>
                      </a:pPr>
                      <a:r>
                        <a:t>Total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1000" b="1">
                          <a:latin typeface="Calibri"/>
                        </a:defRPr>
                      </a:pPr>
                      <a:r>
                        <a:t>6,865,36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1000" b="1">
                          <a:latin typeface="Calibri"/>
                        </a:defRPr>
                      </a:pPr>
                      <a:endParaRPr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1000" b="1">
                          <a:latin typeface="Calibri"/>
                        </a:defRPr>
                      </a:pPr>
                      <a:r>
                        <a:t>$0.1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1000" b="1">
                          <a:latin typeface="Calibri"/>
                        </a:defRPr>
                      </a:pPr>
                      <a:r>
                        <a:t>$0.9M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1000" b="1">
                          <a:latin typeface="Calibri"/>
                        </a:defRPr>
                      </a:pPr>
                      <a:endParaRPr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1000" b="1">
                          <a:latin typeface="Calibri"/>
                        </a:defRPr>
                      </a:pPr>
                      <a:r>
                        <a:t>$0.1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1000" b="1">
                          <a:latin typeface="Calibri"/>
                        </a:defRPr>
                      </a:pPr>
                      <a:r>
                        <a:t>$0.7M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1000" b="1">
                          <a:latin typeface="Calibri"/>
                        </a:defRPr>
                      </a:pPr>
                      <a:r>
                        <a:t>$0.1MM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</a:tbl>
          </a:graphicData>
        </a:graphic>
      </p:graphicFrame>
      <p:graphicFrame>
        <p:nvGraphicFramePr>
          <p:cNvPr id="7" name="Chart 6"/>
          <p:cNvGraphicFramePr>
            <a:graphicFrameLocks noGrp="1"/>
          </p:cNvGraphicFramePr>
          <p:nvPr/>
        </p:nvGraphicFramePr>
        <p:xfrm>
          <a:off x="2997200" y="2176272"/>
          <a:ext cx="1371600" cy="9144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8" name="Chart 7"/>
          <p:cNvGraphicFramePr>
            <a:graphicFrameLocks noGrp="1"/>
          </p:cNvGraphicFramePr>
          <p:nvPr/>
        </p:nvGraphicFramePr>
        <p:xfrm>
          <a:off x="6908800" y="2176272"/>
          <a:ext cx="1371600" cy="9144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9" name="Chart 8"/>
          <p:cNvGraphicFramePr>
            <a:graphicFrameLocks noGrp="1"/>
          </p:cNvGraphicFramePr>
          <p:nvPr/>
        </p:nvGraphicFramePr>
        <p:xfrm>
          <a:off x="2997200" y="3090672"/>
          <a:ext cx="1371600" cy="9144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10" name="Chart 9"/>
          <p:cNvGraphicFramePr>
            <a:graphicFrameLocks noGrp="1"/>
          </p:cNvGraphicFramePr>
          <p:nvPr/>
        </p:nvGraphicFramePr>
        <p:xfrm>
          <a:off x="6908800" y="3090672"/>
          <a:ext cx="1371600" cy="9144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11" name="Chart 10"/>
          <p:cNvGraphicFramePr>
            <a:graphicFrameLocks noGrp="1"/>
          </p:cNvGraphicFramePr>
          <p:nvPr/>
        </p:nvGraphicFramePr>
        <p:xfrm>
          <a:off x="2997200" y="4005072"/>
          <a:ext cx="1371600" cy="9144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12" name="Chart 11"/>
          <p:cNvGraphicFramePr>
            <a:graphicFrameLocks noGrp="1"/>
          </p:cNvGraphicFramePr>
          <p:nvPr/>
        </p:nvGraphicFramePr>
        <p:xfrm>
          <a:off x="6908800" y="4005072"/>
          <a:ext cx="1371600" cy="9144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13" name="Chart 12"/>
          <p:cNvGraphicFramePr>
            <a:graphicFrameLocks noGrp="1"/>
          </p:cNvGraphicFramePr>
          <p:nvPr/>
        </p:nvGraphicFramePr>
        <p:xfrm>
          <a:off x="2997200" y="4919472"/>
          <a:ext cx="1371600" cy="9144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graphicFrame>
        <p:nvGraphicFramePr>
          <p:cNvPr id="14" name="Chart 13"/>
          <p:cNvGraphicFramePr>
            <a:graphicFrameLocks noGrp="1"/>
          </p:cNvGraphicFramePr>
          <p:nvPr/>
        </p:nvGraphicFramePr>
        <p:xfrm>
          <a:off x="6908800" y="4919472"/>
          <a:ext cx="1371600" cy="9144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graphicFrame>
        <p:nvGraphicFramePr>
          <p:cNvPr id="15" name="Chart 14"/>
          <p:cNvGraphicFramePr>
            <a:graphicFrameLocks noGrp="1"/>
          </p:cNvGraphicFramePr>
          <p:nvPr/>
        </p:nvGraphicFramePr>
        <p:xfrm>
          <a:off x="2997200" y="5833872"/>
          <a:ext cx="1371600" cy="9144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  <p:graphicFrame>
        <p:nvGraphicFramePr>
          <p:cNvPr id="16" name="Chart 15"/>
          <p:cNvGraphicFramePr>
            <a:graphicFrameLocks noGrp="1"/>
          </p:cNvGraphicFramePr>
          <p:nvPr/>
        </p:nvGraphicFramePr>
        <p:xfrm>
          <a:off x="6908800" y="5833872"/>
          <a:ext cx="1371600" cy="9144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0" y="9144"/>
            <a:ext cx="11430000" cy="457200"/>
          </a:xfrm>
          <a:prstGeom prst="rect">
            <a:avLst/>
          </a:prstGeom>
          <a:noFill/>
          <a:ln>
            <a:noFill/>
          </a:ln>
        </p:spPr>
        <p:txBody>
          <a:bodyPr wrap="square" anchor="t">
            <a:spAutoFit/>
          </a:bodyPr>
          <a:lstStyle/>
          <a:p>
            <a:pPr>
              <a:defRPr sz="2500" b="1">
                <a:solidFill>
                  <a:srgbClr val="003399"/>
                </a:solidFill>
                <a:latin typeface="Calibri"/>
              </a:defRPr>
            </a:pPr>
            <a:r>
              <a:t>Best of Best Scenario Details</a:t>
            </a:r>
          </a:p>
        </p:txBody>
      </p:sp>
      <p:graphicFrame>
        <p:nvGraphicFramePr>
          <p:cNvPr id="3" name="Chart 2"/>
          <p:cNvGraphicFramePr>
            <a:graphicFrameLocks noGrp="1"/>
          </p:cNvGraphicFramePr>
          <p:nvPr/>
        </p:nvGraphicFramePr>
        <p:xfrm>
          <a:off x="0" y="274320"/>
          <a:ext cx="8229600" cy="155448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4" name="Rectangle 3"/>
          <p:cNvSpPr/>
          <p:nvPr/>
        </p:nvSpPr>
        <p:spPr>
          <a:xfrm>
            <a:off x="10186416" y="594360"/>
            <a:ext cx="1828800" cy="9144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 sz="2000">
                <a:solidFill>
                  <a:srgbClr val="FFFFFF"/>
                </a:solidFill>
              </a:defRPr>
            </a:pPr>
            <a:r>
              <a:t># of Transitions</a:t>
            </a:r>
          </a:p>
          <a:p>
            <a:pPr algn="ctr">
              <a:defRPr sz="2000">
                <a:solidFill>
                  <a:srgbClr val="FFFFFF"/>
                </a:solidFill>
              </a:defRPr>
            </a:pPr>
            <a:r>
              <a:t>5</a:t>
            </a:r>
          </a:p>
        </p:txBody>
      </p:sp>
      <p:sp>
        <p:nvSpPr>
          <p:cNvPr id="5" name="Rectangle 4"/>
          <p:cNvSpPr/>
          <p:nvPr/>
        </p:nvSpPr>
        <p:spPr>
          <a:xfrm>
            <a:off x="8202168" y="594360"/>
            <a:ext cx="1828800" cy="9144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 sz="2000">
                <a:solidFill>
                  <a:srgbClr val="FFFFFF"/>
                </a:solidFill>
              </a:defRPr>
            </a:pPr>
            <a:r>
              <a:t># of items</a:t>
            </a:r>
          </a:p>
          <a:p>
            <a:pPr algn="ctr">
              <a:defRPr sz="2000">
                <a:solidFill>
                  <a:srgbClr val="FFFFFF"/>
                </a:solidFill>
              </a:defRPr>
            </a:pPr>
            <a:r>
              <a:t>5</a:t>
            </a:r>
          </a:p>
        </p:txBody>
      </p:sp>
      <p:graphicFrame>
        <p:nvGraphicFramePr>
          <p:cNvPr id="6" name="Table 5"/>
          <p:cNvGraphicFramePr>
            <a:graphicFrameLocks noGrp="1"/>
          </p:cNvGraphicFramePr>
          <p:nvPr/>
        </p:nvGraphicFramePr>
        <p:xfrm>
          <a:off x="457200" y="1828800"/>
          <a:ext cx="11633200" cy="526694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700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2700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3716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2700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27000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371600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1270000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1270000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1270000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</a:tblGrid>
              <a:tr h="347472">
                <a:tc>
                  <a:txBody>
                    <a:bodyPr/>
                    <a:lstStyle/>
                    <a:p>
                      <a:pPr algn="ctr">
                        <a:defRPr sz="1200" b="1">
                          <a:latin typeface="Calibri"/>
                        </a:defRPr>
                      </a:pPr>
                      <a:r>
                        <a:t>Bid I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1200" b="1">
                          <a:latin typeface="Calibri"/>
                        </a:defRPr>
                      </a:pPr>
                      <a:r>
                        <a:t>Bid Volum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1200" b="1">
                          <a:latin typeface="Calibri"/>
                        </a:defRPr>
                      </a:pPr>
                      <a:r>
                        <a:t>Incumben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1200" b="1">
                          <a:latin typeface="Calibri"/>
                        </a:defRPr>
                      </a:pPr>
                      <a:r>
                        <a:t>Avg Current Pric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1200" b="1">
                          <a:latin typeface="Calibri"/>
                        </a:defRPr>
                      </a:pPr>
                      <a:r>
                        <a:t>Current Spe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1200" b="1">
                          <a:latin typeface="Calibri"/>
                        </a:defRPr>
                      </a:pPr>
                      <a:r>
                        <a:t>Awarded Suppli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1200" b="1">
                          <a:latin typeface="Calibri"/>
                        </a:defRPr>
                      </a:pPr>
                      <a:r>
                        <a:t>Avg Bid Pric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1200" b="1">
                          <a:latin typeface="Calibri"/>
                        </a:defRPr>
                      </a:pPr>
                      <a:r>
                        <a:t>Bid Spe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1200" b="1">
                          <a:latin typeface="Calibri"/>
                        </a:defRPr>
                      </a:pPr>
                      <a:r>
                        <a:t>Current Saving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914400">
                <a:tc>
                  <a:txBody>
                    <a:bodyPr/>
                    <a:lstStyle/>
                    <a:p>
                      <a:pPr algn="ctr">
                        <a:defRPr sz="1000">
                          <a:latin typeface="Calibri"/>
                        </a:defRPr>
                      </a:pPr>
                      <a:r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latin typeface="Calibri"/>
                        </a:defRPr>
                      </a:pPr>
                      <a:r>
                        <a:t>3,437,45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latin typeface="Calibri"/>
                        </a:defRPr>
                      </a:pPr>
                      <a:r>
                        <a:t>$0.1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latin typeface="Calibri"/>
                        </a:defRPr>
                      </a:pPr>
                      <a:r>
                        <a:t>$0.4M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latin typeface="Calibri"/>
                        </a:defRPr>
                      </a:pPr>
                      <a:r>
                        <a:t>$0.0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latin typeface="Calibri"/>
                        </a:defRPr>
                      </a:pPr>
                      <a:r>
                        <a:t>$0.1M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latin typeface="Calibri"/>
                        </a:defRPr>
                      </a:pPr>
                      <a:r>
                        <a:t>$0.3MM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914400">
                <a:tc>
                  <a:txBody>
                    <a:bodyPr/>
                    <a:lstStyle/>
                    <a:p>
                      <a:pPr algn="ctr">
                        <a:defRPr sz="1000">
                          <a:latin typeface="Calibri"/>
                        </a:defRPr>
                      </a:pPr>
                      <a:r>
                        <a:t>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latin typeface="Calibri"/>
                        </a:defRPr>
                      </a:pPr>
                      <a:r>
                        <a:t>3,001,11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latin typeface="Calibri"/>
                        </a:defRPr>
                      </a:pPr>
                      <a:r>
                        <a:t>$1.0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latin typeface="Calibri"/>
                        </a:defRPr>
                      </a:pPr>
                      <a:r>
                        <a:t>$3.1M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latin typeface="Calibri"/>
                        </a:defRPr>
                      </a:pPr>
                      <a:r>
                        <a:t>$1.0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latin typeface="Calibri"/>
                        </a:defRPr>
                      </a:pPr>
                      <a:r>
                        <a:t>$3.2M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latin typeface="Calibri"/>
                        </a:defRPr>
                      </a:pPr>
                      <a:r>
                        <a:t>($0.4MM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914400">
                <a:tc>
                  <a:txBody>
                    <a:bodyPr/>
                    <a:lstStyle/>
                    <a:p>
                      <a:pPr algn="ctr">
                        <a:defRPr sz="1000">
                          <a:latin typeface="Calibri"/>
                        </a:defRPr>
                      </a:pPr>
                      <a:r>
                        <a:t>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latin typeface="Calibri"/>
                        </a:defRPr>
                      </a:pPr>
                      <a:r>
                        <a:t>24,0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latin typeface="Calibri"/>
                        </a:defRPr>
                      </a:pPr>
                      <a:r>
                        <a:t>$0.89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latin typeface="Calibri"/>
                        </a:defRPr>
                      </a:pPr>
                      <a:r>
                        <a:t>$0.0M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latin typeface="Calibri"/>
                        </a:defRPr>
                      </a:pPr>
                      <a:r>
                        <a:t>$0.8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latin typeface="Calibri"/>
                        </a:defRPr>
                      </a:pPr>
                      <a:r>
                        <a:t>$0.0M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latin typeface="Calibri"/>
                        </a:defRPr>
                      </a:pPr>
                      <a:r>
                        <a:t>$0.0MM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914400">
                <a:tc>
                  <a:txBody>
                    <a:bodyPr/>
                    <a:lstStyle/>
                    <a:p>
                      <a:pPr algn="ctr">
                        <a:defRPr sz="1000">
                          <a:latin typeface="Calibri"/>
                        </a:defRPr>
                      </a:pPr>
                      <a:r>
                        <a:t>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latin typeface="Calibri"/>
                        </a:defRPr>
                      </a:pPr>
                      <a:r>
                        <a:t>357,8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latin typeface="Calibri"/>
                        </a:defRPr>
                      </a:pPr>
                      <a:r>
                        <a:t>$1.3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latin typeface="Calibri"/>
                        </a:defRPr>
                      </a:pPr>
                      <a:r>
                        <a:t>$0.5M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latin typeface="Calibri"/>
                        </a:defRPr>
                      </a:pPr>
                      <a:r>
                        <a:t>$1.4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latin typeface="Calibri"/>
                        </a:defRPr>
                      </a:pPr>
                      <a:r>
                        <a:t>$0.5M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latin typeface="Calibri"/>
                        </a:defRPr>
                      </a:pPr>
                      <a:r>
                        <a:t>($0.0MM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914400">
                <a:tc>
                  <a:txBody>
                    <a:bodyPr/>
                    <a:lstStyle/>
                    <a:p>
                      <a:pPr algn="ctr">
                        <a:defRPr sz="1000">
                          <a:latin typeface="Calibri"/>
                        </a:defRPr>
                      </a:pPr>
                      <a:r>
                        <a:t>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latin typeface="Calibri"/>
                        </a:defRPr>
                      </a:pPr>
                      <a:r>
                        <a:t>45,0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latin typeface="Calibri"/>
                        </a:defRPr>
                      </a:pPr>
                      <a:r>
                        <a:t>$0.3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latin typeface="Calibri"/>
                        </a:defRPr>
                      </a:pPr>
                      <a:r>
                        <a:t>$0.0M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latin typeface="Calibri"/>
                        </a:defRPr>
                      </a:pPr>
                      <a:r>
                        <a:t>$0.3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latin typeface="Calibri"/>
                        </a:defRPr>
                      </a:pPr>
                      <a:r>
                        <a:t>$0.0M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latin typeface="Calibri"/>
                        </a:defRPr>
                      </a:pPr>
                      <a:r>
                        <a:t>($0.0MM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47472">
                <a:tc>
                  <a:txBody>
                    <a:bodyPr/>
                    <a:lstStyle/>
                    <a:p>
                      <a:pPr algn="ctr">
                        <a:defRPr sz="1000" b="1">
                          <a:latin typeface="Calibri"/>
                        </a:defRPr>
                      </a:pPr>
                      <a:r>
                        <a:t>Total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1000" b="1">
                          <a:latin typeface="Calibri"/>
                        </a:defRPr>
                      </a:pPr>
                      <a:r>
                        <a:t>6,865,36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1000" b="1">
                          <a:latin typeface="Calibri"/>
                        </a:defRPr>
                      </a:pPr>
                      <a:endParaRPr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1000" b="1">
                          <a:latin typeface="Calibri"/>
                        </a:defRPr>
                      </a:pPr>
                      <a:r>
                        <a:t>$0.5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1000" b="1">
                          <a:latin typeface="Calibri"/>
                        </a:defRPr>
                      </a:pPr>
                      <a:r>
                        <a:t>$4.0M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1000" b="1">
                          <a:latin typeface="Calibri"/>
                        </a:defRPr>
                      </a:pPr>
                      <a:endParaRPr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1000" b="1">
                          <a:latin typeface="Calibri"/>
                        </a:defRPr>
                      </a:pPr>
                      <a:r>
                        <a:t>$0.5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1000" b="1">
                          <a:latin typeface="Calibri"/>
                        </a:defRPr>
                      </a:pPr>
                      <a:r>
                        <a:t>$3.8M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1000" b="1">
                          <a:latin typeface="Calibri"/>
                        </a:defRPr>
                      </a:pPr>
                      <a:r>
                        <a:t>($0.1MM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</a:tbl>
          </a:graphicData>
        </a:graphic>
      </p:graphicFrame>
      <p:graphicFrame>
        <p:nvGraphicFramePr>
          <p:cNvPr id="7" name="Chart 6"/>
          <p:cNvGraphicFramePr>
            <a:graphicFrameLocks noGrp="1"/>
          </p:cNvGraphicFramePr>
          <p:nvPr/>
        </p:nvGraphicFramePr>
        <p:xfrm>
          <a:off x="2997200" y="2176272"/>
          <a:ext cx="1371600" cy="9144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8" name="Chart 7"/>
          <p:cNvGraphicFramePr>
            <a:graphicFrameLocks noGrp="1"/>
          </p:cNvGraphicFramePr>
          <p:nvPr/>
        </p:nvGraphicFramePr>
        <p:xfrm>
          <a:off x="6908800" y="2176272"/>
          <a:ext cx="1371600" cy="9144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9" name="Chart 8"/>
          <p:cNvGraphicFramePr>
            <a:graphicFrameLocks noGrp="1"/>
          </p:cNvGraphicFramePr>
          <p:nvPr/>
        </p:nvGraphicFramePr>
        <p:xfrm>
          <a:off x="2997200" y="3090672"/>
          <a:ext cx="1371600" cy="9144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10" name="Chart 9"/>
          <p:cNvGraphicFramePr>
            <a:graphicFrameLocks noGrp="1"/>
          </p:cNvGraphicFramePr>
          <p:nvPr/>
        </p:nvGraphicFramePr>
        <p:xfrm>
          <a:off x="6908800" y="3090672"/>
          <a:ext cx="1371600" cy="9144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11" name="Chart 10"/>
          <p:cNvGraphicFramePr>
            <a:graphicFrameLocks noGrp="1"/>
          </p:cNvGraphicFramePr>
          <p:nvPr/>
        </p:nvGraphicFramePr>
        <p:xfrm>
          <a:off x="2997200" y="4005072"/>
          <a:ext cx="1371600" cy="9144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12" name="Chart 11"/>
          <p:cNvGraphicFramePr>
            <a:graphicFrameLocks noGrp="1"/>
          </p:cNvGraphicFramePr>
          <p:nvPr/>
        </p:nvGraphicFramePr>
        <p:xfrm>
          <a:off x="6908800" y="4005072"/>
          <a:ext cx="1371600" cy="9144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13" name="Chart 12"/>
          <p:cNvGraphicFramePr>
            <a:graphicFrameLocks noGrp="1"/>
          </p:cNvGraphicFramePr>
          <p:nvPr/>
        </p:nvGraphicFramePr>
        <p:xfrm>
          <a:off x="2997200" y="4919472"/>
          <a:ext cx="1371600" cy="9144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graphicFrame>
        <p:nvGraphicFramePr>
          <p:cNvPr id="14" name="Chart 13"/>
          <p:cNvGraphicFramePr>
            <a:graphicFrameLocks noGrp="1"/>
          </p:cNvGraphicFramePr>
          <p:nvPr/>
        </p:nvGraphicFramePr>
        <p:xfrm>
          <a:off x="6908800" y="4919472"/>
          <a:ext cx="1371600" cy="9144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graphicFrame>
        <p:nvGraphicFramePr>
          <p:cNvPr id="15" name="Chart 14"/>
          <p:cNvGraphicFramePr>
            <a:graphicFrameLocks noGrp="1"/>
          </p:cNvGraphicFramePr>
          <p:nvPr/>
        </p:nvGraphicFramePr>
        <p:xfrm>
          <a:off x="2997200" y="5833872"/>
          <a:ext cx="1371600" cy="9144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  <p:graphicFrame>
        <p:nvGraphicFramePr>
          <p:cNvPr id="16" name="Chart 15"/>
          <p:cNvGraphicFramePr>
            <a:graphicFrameLocks noGrp="1"/>
          </p:cNvGraphicFramePr>
          <p:nvPr/>
        </p:nvGraphicFramePr>
        <p:xfrm>
          <a:off x="6908800" y="5833872"/>
          <a:ext cx="1371600" cy="9144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0" y="9144"/>
            <a:ext cx="11430000" cy="457200"/>
          </a:xfrm>
          <a:prstGeom prst="rect">
            <a:avLst/>
          </a:prstGeom>
          <a:noFill/>
          <a:ln>
            <a:noFill/>
          </a:ln>
        </p:spPr>
        <p:txBody>
          <a:bodyPr wrap="square" anchor="t">
            <a:spAutoFit/>
          </a:bodyPr>
          <a:lstStyle/>
          <a:p>
            <a:pPr>
              <a:defRPr sz="2500" b="1">
                <a:solidFill>
                  <a:srgbClr val="003399"/>
                </a:solidFill>
                <a:latin typeface="Calibri"/>
              </a:defRPr>
            </a:pPr>
            <a:r>
              <a:t>BOB Excl Suppliers Scenario Details</a:t>
            </a:r>
          </a:p>
        </p:txBody>
      </p:sp>
      <p:graphicFrame>
        <p:nvGraphicFramePr>
          <p:cNvPr id="3" name="Chart 2"/>
          <p:cNvGraphicFramePr>
            <a:graphicFrameLocks noGrp="1"/>
          </p:cNvGraphicFramePr>
          <p:nvPr/>
        </p:nvGraphicFramePr>
        <p:xfrm>
          <a:off x="0" y="274320"/>
          <a:ext cx="8229600" cy="155448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4" name="Rectangle 3"/>
          <p:cNvSpPr/>
          <p:nvPr/>
        </p:nvSpPr>
        <p:spPr>
          <a:xfrm>
            <a:off x="10186416" y="594360"/>
            <a:ext cx="1828800" cy="9144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 sz="2000">
                <a:solidFill>
                  <a:srgbClr val="FFFFFF"/>
                </a:solidFill>
              </a:defRPr>
            </a:pPr>
            <a:r>
              <a:t># of Transitions</a:t>
            </a:r>
          </a:p>
          <a:p>
            <a:pPr algn="ctr">
              <a:defRPr sz="2000">
                <a:solidFill>
                  <a:srgbClr val="FFFFFF"/>
                </a:solidFill>
              </a:defRPr>
            </a:pPr>
            <a:r>
              <a:t>5</a:t>
            </a:r>
          </a:p>
        </p:txBody>
      </p:sp>
      <p:sp>
        <p:nvSpPr>
          <p:cNvPr id="5" name="Rectangle 4"/>
          <p:cNvSpPr/>
          <p:nvPr/>
        </p:nvSpPr>
        <p:spPr>
          <a:xfrm>
            <a:off x="8202168" y="594360"/>
            <a:ext cx="1828800" cy="9144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 sz="2000">
                <a:solidFill>
                  <a:srgbClr val="FFFFFF"/>
                </a:solidFill>
              </a:defRPr>
            </a:pPr>
            <a:r>
              <a:t># of items</a:t>
            </a:r>
          </a:p>
          <a:p>
            <a:pPr algn="ctr">
              <a:defRPr sz="2000">
                <a:solidFill>
                  <a:srgbClr val="FFFFFF"/>
                </a:solidFill>
              </a:defRPr>
            </a:pPr>
            <a:r>
              <a:t>5</a:t>
            </a:r>
          </a:p>
        </p:txBody>
      </p:sp>
      <p:graphicFrame>
        <p:nvGraphicFramePr>
          <p:cNvPr id="6" name="Table 5"/>
          <p:cNvGraphicFramePr>
            <a:graphicFrameLocks noGrp="1"/>
          </p:cNvGraphicFramePr>
          <p:nvPr/>
        </p:nvGraphicFramePr>
        <p:xfrm>
          <a:off x="457200" y="1828800"/>
          <a:ext cx="11633200" cy="526694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700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2700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3716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2700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27000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371600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1270000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1270000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1270000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</a:tblGrid>
              <a:tr h="347472">
                <a:tc>
                  <a:txBody>
                    <a:bodyPr/>
                    <a:lstStyle/>
                    <a:p>
                      <a:pPr algn="ctr">
                        <a:defRPr sz="1200" b="1">
                          <a:latin typeface="Calibri"/>
                        </a:defRPr>
                      </a:pPr>
                      <a:r>
                        <a:t>Bid I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1200" b="1">
                          <a:latin typeface="Calibri"/>
                        </a:defRPr>
                      </a:pPr>
                      <a:r>
                        <a:t>Bid Volum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1200" b="1">
                          <a:latin typeface="Calibri"/>
                        </a:defRPr>
                      </a:pPr>
                      <a:r>
                        <a:t>Incumben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1200" b="1">
                          <a:latin typeface="Calibri"/>
                        </a:defRPr>
                      </a:pPr>
                      <a:r>
                        <a:t>Avg Current Pric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1200" b="1">
                          <a:latin typeface="Calibri"/>
                        </a:defRPr>
                      </a:pPr>
                      <a:r>
                        <a:t>Current Spe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1200" b="1">
                          <a:latin typeface="Calibri"/>
                        </a:defRPr>
                      </a:pPr>
                      <a:r>
                        <a:t>Awarded Suppli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1200" b="1">
                          <a:latin typeface="Calibri"/>
                        </a:defRPr>
                      </a:pPr>
                      <a:r>
                        <a:t>Avg Bid Pric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1200" b="1">
                          <a:latin typeface="Calibri"/>
                        </a:defRPr>
                      </a:pPr>
                      <a:r>
                        <a:t>Bid Spe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1200" b="1">
                          <a:latin typeface="Calibri"/>
                        </a:defRPr>
                      </a:pPr>
                      <a:r>
                        <a:t>Current Saving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914400">
                <a:tc>
                  <a:txBody>
                    <a:bodyPr/>
                    <a:lstStyle/>
                    <a:p>
                      <a:pPr algn="ctr">
                        <a:defRPr sz="1000">
                          <a:latin typeface="Calibri"/>
                        </a:defRPr>
                      </a:pPr>
                      <a:r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latin typeface="Calibri"/>
                        </a:defRPr>
                      </a:pPr>
                      <a:r>
                        <a:t>3,437,45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latin typeface="Calibri"/>
                        </a:defRPr>
                      </a:pPr>
                      <a:r>
                        <a:t>$0.1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latin typeface="Calibri"/>
                        </a:defRPr>
                      </a:pPr>
                      <a:r>
                        <a:t>$0.4M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latin typeface="Calibri"/>
                        </a:defRPr>
                      </a:pPr>
                      <a:r>
                        <a:t>$0.0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latin typeface="Calibri"/>
                        </a:defRPr>
                      </a:pPr>
                      <a:r>
                        <a:t>$0.1M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latin typeface="Calibri"/>
                        </a:defRPr>
                      </a:pPr>
                      <a:r>
                        <a:t>$0.3MM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914400">
                <a:tc>
                  <a:txBody>
                    <a:bodyPr/>
                    <a:lstStyle/>
                    <a:p>
                      <a:pPr algn="ctr">
                        <a:defRPr sz="1000">
                          <a:latin typeface="Calibri"/>
                        </a:defRPr>
                      </a:pPr>
                      <a:r>
                        <a:t>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latin typeface="Calibri"/>
                        </a:defRPr>
                      </a:pPr>
                      <a:r>
                        <a:t>3,001,11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latin typeface="Calibri"/>
                        </a:defRPr>
                      </a:pPr>
                      <a:r>
                        <a:t>$1.0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latin typeface="Calibri"/>
                        </a:defRPr>
                      </a:pPr>
                      <a:r>
                        <a:t>$3.1M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latin typeface="Calibri"/>
                        </a:defRPr>
                      </a:pPr>
                      <a:r>
                        <a:t>$1.0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latin typeface="Calibri"/>
                        </a:defRPr>
                      </a:pPr>
                      <a:r>
                        <a:t>$3.2M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latin typeface="Calibri"/>
                        </a:defRPr>
                      </a:pPr>
                      <a:r>
                        <a:t>($0.4MM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914400">
                <a:tc>
                  <a:txBody>
                    <a:bodyPr/>
                    <a:lstStyle/>
                    <a:p>
                      <a:pPr algn="ctr">
                        <a:defRPr sz="1000">
                          <a:latin typeface="Calibri"/>
                        </a:defRPr>
                      </a:pPr>
                      <a:r>
                        <a:t>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latin typeface="Calibri"/>
                        </a:defRPr>
                      </a:pPr>
                      <a:r>
                        <a:t>24,0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latin typeface="Calibri"/>
                        </a:defRPr>
                      </a:pPr>
                      <a:r>
                        <a:t>$0.89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latin typeface="Calibri"/>
                        </a:defRPr>
                      </a:pPr>
                      <a:r>
                        <a:t>$0.0M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latin typeface="Calibri"/>
                        </a:defRPr>
                      </a:pPr>
                      <a:r>
                        <a:t>$0.8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latin typeface="Calibri"/>
                        </a:defRPr>
                      </a:pPr>
                      <a:r>
                        <a:t>$0.0M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latin typeface="Calibri"/>
                        </a:defRPr>
                      </a:pPr>
                      <a:r>
                        <a:t>$0.0MM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914400">
                <a:tc>
                  <a:txBody>
                    <a:bodyPr/>
                    <a:lstStyle/>
                    <a:p>
                      <a:pPr algn="ctr">
                        <a:defRPr sz="1000">
                          <a:latin typeface="Calibri"/>
                        </a:defRPr>
                      </a:pPr>
                      <a:r>
                        <a:t>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latin typeface="Calibri"/>
                        </a:defRPr>
                      </a:pPr>
                      <a:r>
                        <a:t>357,8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latin typeface="Calibri"/>
                        </a:defRPr>
                      </a:pPr>
                      <a:r>
                        <a:t>$1.3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latin typeface="Calibri"/>
                        </a:defRPr>
                      </a:pPr>
                      <a:r>
                        <a:t>$0.5M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latin typeface="Calibri"/>
                        </a:defRPr>
                      </a:pPr>
                      <a:r>
                        <a:t>$1.4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latin typeface="Calibri"/>
                        </a:defRPr>
                      </a:pPr>
                      <a:r>
                        <a:t>$0.5M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latin typeface="Calibri"/>
                        </a:defRPr>
                      </a:pPr>
                      <a:r>
                        <a:t>($0.0MM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914400">
                <a:tc>
                  <a:txBody>
                    <a:bodyPr/>
                    <a:lstStyle/>
                    <a:p>
                      <a:pPr algn="ctr">
                        <a:defRPr sz="1000">
                          <a:latin typeface="Calibri"/>
                        </a:defRPr>
                      </a:pPr>
                      <a:r>
                        <a:t>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latin typeface="Calibri"/>
                        </a:defRPr>
                      </a:pPr>
                      <a:r>
                        <a:t>45,0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latin typeface="Calibri"/>
                        </a:defRPr>
                      </a:pPr>
                      <a:r>
                        <a:t>$0.3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latin typeface="Calibri"/>
                        </a:defRPr>
                      </a:pPr>
                      <a:r>
                        <a:t>$0.0M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latin typeface="Calibri"/>
                        </a:defRPr>
                      </a:pPr>
                      <a:r>
                        <a:t>$0.3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latin typeface="Calibri"/>
                        </a:defRPr>
                      </a:pPr>
                      <a:r>
                        <a:t>$0.0M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latin typeface="Calibri"/>
                        </a:defRPr>
                      </a:pPr>
                      <a:r>
                        <a:t>($0.0MM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47472">
                <a:tc>
                  <a:txBody>
                    <a:bodyPr/>
                    <a:lstStyle/>
                    <a:p>
                      <a:pPr algn="ctr">
                        <a:defRPr sz="1000" b="1">
                          <a:latin typeface="Calibri"/>
                        </a:defRPr>
                      </a:pPr>
                      <a:r>
                        <a:t>Total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1000" b="1">
                          <a:latin typeface="Calibri"/>
                        </a:defRPr>
                      </a:pPr>
                      <a:r>
                        <a:t>6,865,36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1000" b="1">
                          <a:latin typeface="Calibri"/>
                        </a:defRPr>
                      </a:pPr>
                      <a:endParaRPr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1000" b="1">
                          <a:latin typeface="Calibri"/>
                        </a:defRPr>
                      </a:pPr>
                      <a:r>
                        <a:t>$0.5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1000" b="1">
                          <a:latin typeface="Calibri"/>
                        </a:defRPr>
                      </a:pPr>
                      <a:r>
                        <a:t>$4.0M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1000" b="1">
                          <a:latin typeface="Calibri"/>
                        </a:defRPr>
                      </a:pPr>
                      <a:endParaRPr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1000" b="1">
                          <a:latin typeface="Calibri"/>
                        </a:defRPr>
                      </a:pPr>
                      <a:r>
                        <a:t>$0.5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1000" b="1">
                          <a:latin typeface="Calibri"/>
                        </a:defRPr>
                      </a:pPr>
                      <a:r>
                        <a:t>$3.8M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1000" b="1">
                          <a:latin typeface="Calibri"/>
                        </a:defRPr>
                      </a:pPr>
                      <a:r>
                        <a:t>($0.1MM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</a:tbl>
          </a:graphicData>
        </a:graphic>
      </p:graphicFrame>
      <p:graphicFrame>
        <p:nvGraphicFramePr>
          <p:cNvPr id="7" name="Chart 6"/>
          <p:cNvGraphicFramePr>
            <a:graphicFrameLocks noGrp="1"/>
          </p:cNvGraphicFramePr>
          <p:nvPr/>
        </p:nvGraphicFramePr>
        <p:xfrm>
          <a:off x="2997200" y="2176272"/>
          <a:ext cx="1371600" cy="9144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8" name="Chart 7"/>
          <p:cNvGraphicFramePr>
            <a:graphicFrameLocks noGrp="1"/>
          </p:cNvGraphicFramePr>
          <p:nvPr/>
        </p:nvGraphicFramePr>
        <p:xfrm>
          <a:off x="6908800" y="2176272"/>
          <a:ext cx="1371600" cy="9144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9" name="Chart 8"/>
          <p:cNvGraphicFramePr>
            <a:graphicFrameLocks noGrp="1"/>
          </p:cNvGraphicFramePr>
          <p:nvPr/>
        </p:nvGraphicFramePr>
        <p:xfrm>
          <a:off x="2997200" y="3090672"/>
          <a:ext cx="1371600" cy="9144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10" name="Chart 9"/>
          <p:cNvGraphicFramePr>
            <a:graphicFrameLocks noGrp="1"/>
          </p:cNvGraphicFramePr>
          <p:nvPr/>
        </p:nvGraphicFramePr>
        <p:xfrm>
          <a:off x="6908800" y="3090672"/>
          <a:ext cx="1371600" cy="9144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11" name="Chart 10"/>
          <p:cNvGraphicFramePr>
            <a:graphicFrameLocks noGrp="1"/>
          </p:cNvGraphicFramePr>
          <p:nvPr/>
        </p:nvGraphicFramePr>
        <p:xfrm>
          <a:off x="2997200" y="4005072"/>
          <a:ext cx="1371600" cy="9144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12" name="Chart 11"/>
          <p:cNvGraphicFramePr>
            <a:graphicFrameLocks noGrp="1"/>
          </p:cNvGraphicFramePr>
          <p:nvPr/>
        </p:nvGraphicFramePr>
        <p:xfrm>
          <a:off x="6908800" y="4005072"/>
          <a:ext cx="1371600" cy="9144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13" name="Chart 12"/>
          <p:cNvGraphicFramePr>
            <a:graphicFrameLocks noGrp="1"/>
          </p:cNvGraphicFramePr>
          <p:nvPr/>
        </p:nvGraphicFramePr>
        <p:xfrm>
          <a:off x="2997200" y="4919472"/>
          <a:ext cx="1371600" cy="9144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graphicFrame>
        <p:nvGraphicFramePr>
          <p:cNvPr id="14" name="Chart 13"/>
          <p:cNvGraphicFramePr>
            <a:graphicFrameLocks noGrp="1"/>
          </p:cNvGraphicFramePr>
          <p:nvPr/>
        </p:nvGraphicFramePr>
        <p:xfrm>
          <a:off x="6908800" y="4919472"/>
          <a:ext cx="1371600" cy="9144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graphicFrame>
        <p:nvGraphicFramePr>
          <p:cNvPr id="15" name="Chart 14"/>
          <p:cNvGraphicFramePr>
            <a:graphicFrameLocks noGrp="1"/>
          </p:cNvGraphicFramePr>
          <p:nvPr/>
        </p:nvGraphicFramePr>
        <p:xfrm>
          <a:off x="2997200" y="5833872"/>
          <a:ext cx="1371600" cy="9144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  <p:graphicFrame>
        <p:nvGraphicFramePr>
          <p:cNvPr id="16" name="Chart 15"/>
          <p:cNvGraphicFramePr>
            <a:graphicFrameLocks noGrp="1"/>
          </p:cNvGraphicFramePr>
          <p:nvPr/>
        </p:nvGraphicFramePr>
        <p:xfrm>
          <a:off x="6908800" y="5833872"/>
          <a:ext cx="1371600" cy="9144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0" y="9144"/>
            <a:ext cx="11082528" cy="384048"/>
          </a:xfrm>
          <a:prstGeom prst="rect">
            <a:avLst/>
          </a:prstGeom>
          <a:noFill/>
          <a:ln>
            <a:noFill/>
          </a:ln>
        </p:spPr>
        <p:txBody>
          <a:bodyPr wrap="square" anchor="t">
            <a:spAutoFit/>
          </a:bodyPr>
          <a:lstStyle/>
          <a:p>
            <a:pPr>
              <a:defRPr sz="2500" b="1">
                <a:solidFill>
                  <a:srgbClr val="003399"/>
                </a:solidFill>
                <a:latin typeface="Calibri"/>
              </a:defRPr>
            </a:pPr>
            <a:r>
              <a:t>Scenario Summary #2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530352" y="731520"/>
            <a:ext cx="1371600" cy="182880"/>
          </a:xfrm>
          <a:prstGeom prst="rect">
            <a:avLst/>
          </a:prstGeom>
          <a:noFill/>
          <a:ln>
            <a:noFill/>
          </a:ln>
        </p:spPr>
        <p:txBody>
          <a:bodyPr wrap="square" anchor="t">
            <a:spAutoFit/>
          </a:bodyPr>
          <a:lstStyle/>
          <a:p>
            <a:pPr>
              <a:defRPr sz="1200" b="1">
                <a:solidFill>
                  <a:srgbClr val="003399"/>
                </a:solidFill>
                <a:latin typeface="Calibri"/>
              </a:defRPr>
            </a:pPr>
            <a:r>
              <a:t>Scenario Name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530352" y="1179576"/>
            <a:ext cx="1371600" cy="182880"/>
          </a:xfrm>
          <a:prstGeom prst="rect">
            <a:avLst/>
          </a:prstGeom>
          <a:noFill/>
          <a:ln>
            <a:noFill/>
          </a:ln>
        </p:spPr>
        <p:txBody>
          <a:bodyPr wrap="square" anchor="t">
            <a:spAutoFit/>
          </a:bodyPr>
          <a:lstStyle/>
          <a:p>
            <a:pPr>
              <a:defRPr sz="1200" b="1">
                <a:solidFill>
                  <a:srgbClr val="003399"/>
                </a:solidFill>
                <a:latin typeface="Calibri"/>
              </a:defRPr>
            </a:pPr>
            <a:r>
              <a:t>Description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530352" y="1737360"/>
            <a:ext cx="1371600" cy="182880"/>
          </a:xfrm>
          <a:prstGeom prst="rect">
            <a:avLst/>
          </a:prstGeom>
          <a:noFill/>
          <a:ln>
            <a:noFill/>
          </a:ln>
        </p:spPr>
        <p:txBody>
          <a:bodyPr wrap="square" anchor="t">
            <a:spAutoFit/>
          </a:bodyPr>
          <a:lstStyle/>
          <a:p>
            <a:pPr>
              <a:defRPr sz="1200" b="1">
                <a:solidFill>
                  <a:srgbClr val="003399"/>
                </a:solidFill>
                <a:latin typeface="Calibri"/>
              </a:defRPr>
            </a:pPr>
            <a:r>
              <a:t># of Suppliers (% spend)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530352" y="2971800"/>
            <a:ext cx="1371600" cy="182880"/>
          </a:xfrm>
          <a:prstGeom prst="rect">
            <a:avLst/>
          </a:prstGeom>
          <a:noFill/>
          <a:ln>
            <a:noFill/>
          </a:ln>
        </p:spPr>
        <p:txBody>
          <a:bodyPr wrap="square" anchor="t">
            <a:spAutoFit/>
          </a:bodyPr>
          <a:lstStyle/>
          <a:p>
            <a:pPr>
              <a:defRPr sz="1200" b="1">
                <a:solidFill>
                  <a:srgbClr val="003399"/>
                </a:solidFill>
                <a:latin typeface="Calibri"/>
              </a:defRPr>
            </a:pPr>
            <a:r>
              <a:t>RFP Savings %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530352" y="3511296"/>
            <a:ext cx="1371600" cy="182880"/>
          </a:xfrm>
          <a:prstGeom prst="rect">
            <a:avLst/>
          </a:prstGeom>
          <a:noFill/>
          <a:ln>
            <a:noFill/>
          </a:ln>
        </p:spPr>
        <p:txBody>
          <a:bodyPr wrap="square" anchor="t">
            <a:spAutoFit/>
          </a:bodyPr>
          <a:lstStyle/>
          <a:p>
            <a:pPr>
              <a:defRPr sz="1200" b="1">
                <a:solidFill>
                  <a:srgbClr val="003399"/>
                </a:solidFill>
                <a:latin typeface="Calibri"/>
              </a:defRPr>
            </a:pPr>
            <a:r>
              <a:t>Total Value Opportunity ($MM)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530352" y="4471416"/>
            <a:ext cx="1371600" cy="182880"/>
          </a:xfrm>
          <a:prstGeom prst="rect">
            <a:avLst/>
          </a:prstGeom>
          <a:noFill/>
          <a:ln>
            <a:noFill/>
          </a:ln>
        </p:spPr>
        <p:txBody>
          <a:bodyPr wrap="square" anchor="t">
            <a:spAutoFit/>
          </a:bodyPr>
          <a:lstStyle/>
          <a:p>
            <a:pPr>
              <a:defRPr sz="1200" b="1">
                <a:solidFill>
                  <a:srgbClr val="003399"/>
                </a:solidFill>
                <a:latin typeface="Calibri"/>
              </a:defRPr>
            </a:pPr>
            <a:r>
              <a:t>Key Considerations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2487168" y="731520"/>
            <a:ext cx="2286000" cy="310896"/>
          </a:xfrm>
          <a:prstGeom prst="rect">
            <a:avLst/>
          </a:prstGeom>
          <a:noFill/>
          <a:ln>
            <a:noFill/>
          </a:ln>
        </p:spPr>
        <p:txBody>
          <a:bodyPr wrap="square" anchor="t">
            <a:spAutoFit/>
          </a:bodyPr>
          <a:lstStyle/>
          <a:p>
            <a:pPr algn="ctr">
              <a:defRPr sz="1400" b="1">
                <a:solidFill>
                  <a:srgbClr val="003399"/>
                </a:solidFill>
                <a:latin typeface="Calibri"/>
              </a:defRPr>
            </a:pPr>
            <a:r>
              <a:t>As-Is Excl Suppliers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2487168" y="1179576"/>
            <a:ext cx="2286000" cy="310896"/>
          </a:xfrm>
          <a:prstGeom prst="rect">
            <a:avLst/>
          </a:prstGeom>
          <a:noFill/>
          <a:ln>
            <a:noFill/>
          </a:ln>
        </p:spPr>
        <p:txBody>
          <a:bodyPr wrap="square" anchor="t">
            <a:spAutoFit/>
          </a:bodyPr>
          <a:lstStyle/>
          <a:p>
            <a:pPr algn="ctr">
              <a:defRPr sz="1200">
                <a:solidFill>
                  <a:srgbClr val="000000"/>
                </a:solidFill>
                <a:latin typeface="Calibri"/>
              </a:defRPr>
            </a:pPr>
            <a:r>
              <a:t>Describe your scenario here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2487168" y="1691640"/>
            <a:ext cx="2286000" cy="1014984"/>
          </a:xfrm>
          <a:prstGeom prst="rect">
            <a:avLst/>
          </a:prstGeom>
          <a:noFill/>
          <a:ln>
            <a:noFill/>
          </a:ln>
        </p:spPr>
        <p:txBody>
          <a:bodyPr wrap="square" anchor="t">
            <a:spAutoFit/>
          </a:bodyPr>
          <a:lstStyle/>
          <a:p>
            <a:pPr algn="ctr">
              <a:defRPr sz="1200">
                <a:solidFill>
                  <a:srgbClr val="000000"/>
                </a:solidFill>
                <a:latin typeface="Calibri"/>
              </a:defRPr>
            </a:pPr>
            <a:r>
              <a:t>4- Supplier 2 (73%), Supplier 1 (24%), Supplier 4 (3%), Unallocated (0%)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2487168" y="2980944"/>
            <a:ext cx="2286000" cy="274320"/>
          </a:xfrm>
          <a:prstGeom prst="rect">
            <a:avLst/>
          </a:prstGeom>
          <a:noFill/>
          <a:ln>
            <a:noFill/>
          </a:ln>
        </p:spPr>
        <p:txBody>
          <a:bodyPr wrap="square" anchor="t">
            <a:spAutoFit/>
          </a:bodyPr>
          <a:lstStyle/>
          <a:p>
            <a:pPr algn="ctr">
              <a:defRPr sz="1200">
                <a:solidFill>
                  <a:srgbClr val="000000"/>
                </a:solidFill>
                <a:latin typeface="Calibri"/>
              </a:defRPr>
            </a:pPr>
            <a:r>
              <a:t>7% | 17%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2487168" y="4462272"/>
            <a:ext cx="2286000" cy="1828800"/>
          </a:xfrm>
          <a:prstGeom prst="rect">
            <a:avLst/>
          </a:prstGeom>
          <a:noFill/>
          <a:ln>
            <a:noFill/>
          </a:ln>
        </p:spPr>
        <p:txBody>
          <a:bodyPr wrap="square" anchor="t">
            <a:spAutoFit/>
          </a:bodyPr>
          <a:lstStyle/>
          <a:p>
            <a:pPr algn="l">
              <a:defRPr sz="1200">
                <a:solidFill>
                  <a:srgbClr val="000000"/>
                </a:solidFill>
                <a:latin typeface="Calibri"/>
              </a:defRPr>
            </a:pPr>
            <a:r>
              <a:t>Key considerations for As-Is Excl Suppliers</a:t>
            </a:r>
          </a:p>
        </p:txBody>
      </p:sp>
      <p:graphicFrame>
        <p:nvGraphicFramePr>
          <p:cNvPr id="14" name="Chart 13"/>
          <p:cNvGraphicFramePr>
            <a:graphicFrameLocks noGrp="1"/>
          </p:cNvGraphicFramePr>
          <p:nvPr/>
        </p:nvGraphicFramePr>
        <p:xfrm>
          <a:off x="1700784" y="3374136"/>
          <a:ext cx="8229600" cy="9144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0" y="9144"/>
            <a:ext cx="11430000" cy="457200"/>
          </a:xfrm>
          <a:prstGeom prst="rect">
            <a:avLst/>
          </a:prstGeom>
          <a:noFill/>
          <a:ln>
            <a:noFill/>
          </a:ln>
        </p:spPr>
        <p:txBody>
          <a:bodyPr wrap="square" anchor="t">
            <a:spAutoFit/>
          </a:bodyPr>
          <a:lstStyle/>
          <a:p>
            <a:pPr>
              <a:defRPr sz="2500" b="1">
                <a:solidFill>
                  <a:srgbClr val="003399"/>
                </a:solidFill>
                <a:latin typeface="Calibri"/>
              </a:defRPr>
            </a:pPr>
            <a:r>
              <a:t>As-Is Excl Suppliers Scenario Details</a:t>
            </a:r>
          </a:p>
        </p:txBody>
      </p:sp>
      <p:graphicFrame>
        <p:nvGraphicFramePr>
          <p:cNvPr id="3" name="Chart 2"/>
          <p:cNvGraphicFramePr>
            <a:graphicFrameLocks noGrp="1"/>
          </p:cNvGraphicFramePr>
          <p:nvPr/>
        </p:nvGraphicFramePr>
        <p:xfrm>
          <a:off x="0" y="274320"/>
          <a:ext cx="8229600" cy="155448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4" name="Rectangle 3"/>
          <p:cNvSpPr/>
          <p:nvPr/>
        </p:nvSpPr>
        <p:spPr>
          <a:xfrm>
            <a:off x="10186416" y="594360"/>
            <a:ext cx="1828800" cy="9144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 sz="2000">
                <a:solidFill>
                  <a:srgbClr val="FFFFFF"/>
                </a:solidFill>
              </a:defRPr>
            </a:pPr>
            <a:r>
              <a:t># of Transitions</a:t>
            </a:r>
          </a:p>
          <a:p>
            <a:pPr algn="ctr">
              <a:defRPr sz="2000">
                <a:solidFill>
                  <a:srgbClr val="FFFFFF"/>
                </a:solidFill>
              </a:defRPr>
            </a:pPr>
            <a:r>
              <a:t>2</a:t>
            </a:r>
          </a:p>
        </p:txBody>
      </p:sp>
      <p:sp>
        <p:nvSpPr>
          <p:cNvPr id="5" name="Rectangle 4"/>
          <p:cNvSpPr/>
          <p:nvPr/>
        </p:nvSpPr>
        <p:spPr>
          <a:xfrm>
            <a:off x="8202168" y="594360"/>
            <a:ext cx="1828800" cy="9144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 sz="2000">
                <a:solidFill>
                  <a:srgbClr val="FFFFFF"/>
                </a:solidFill>
              </a:defRPr>
            </a:pPr>
            <a:r>
              <a:t># of items</a:t>
            </a:r>
          </a:p>
          <a:p>
            <a:pPr algn="ctr">
              <a:defRPr sz="2000">
                <a:solidFill>
                  <a:srgbClr val="FFFFFF"/>
                </a:solidFill>
              </a:defRPr>
            </a:pPr>
            <a:r>
              <a:t>5</a:t>
            </a:r>
          </a:p>
        </p:txBody>
      </p:sp>
      <p:graphicFrame>
        <p:nvGraphicFramePr>
          <p:cNvPr id="6" name="Table 5"/>
          <p:cNvGraphicFramePr>
            <a:graphicFrameLocks noGrp="1"/>
          </p:cNvGraphicFramePr>
          <p:nvPr/>
        </p:nvGraphicFramePr>
        <p:xfrm>
          <a:off x="457200" y="1828800"/>
          <a:ext cx="11633200" cy="526694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700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2700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3716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2700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27000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371600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1270000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1270000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1270000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</a:tblGrid>
              <a:tr h="347472">
                <a:tc>
                  <a:txBody>
                    <a:bodyPr/>
                    <a:lstStyle/>
                    <a:p>
                      <a:pPr algn="ctr">
                        <a:defRPr sz="1200" b="1">
                          <a:latin typeface="Calibri"/>
                        </a:defRPr>
                      </a:pPr>
                      <a:r>
                        <a:t>Bid I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1200" b="1">
                          <a:latin typeface="Calibri"/>
                        </a:defRPr>
                      </a:pPr>
                      <a:r>
                        <a:t>Bid Volum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1200" b="1">
                          <a:latin typeface="Calibri"/>
                        </a:defRPr>
                      </a:pPr>
                      <a:r>
                        <a:t>Incumben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1200" b="1">
                          <a:latin typeface="Calibri"/>
                        </a:defRPr>
                      </a:pPr>
                      <a:r>
                        <a:t>Avg Current Pric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1200" b="1">
                          <a:latin typeface="Calibri"/>
                        </a:defRPr>
                      </a:pPr>
                      <a:r>
                        <a:t>Current Spe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1200" b="1">
                          <a:latin typeface="Calibri"/>
                        </a:defRPr>
                      </a:pPr>
                      <a:r>
                        <a:t>Awarded Suppli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1200" b="1">
                          <a:latin typeface="Calibri"/>
                        </a:defRPr>
                      </a:pPr>
                      <a:r>
                        <a:t>Avg Bid Pric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1200" b="1">
                          <a:latin typeface="Calibri"/>
                        </a:defRPr>
                      </a:pPr>
                      <a:r>
                        <a:t>Bid Spe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1200" b="1">
                          <a:latin typeface="Calibri"/>
                        </a:defRPr>
                      </a:pPr>
                      <a:r>
                        <a:t>Current Saving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914400">
                <a:tc>
                  <a:txBody>
                    <a:bodyPr/>
                    <a:lstStyle/>
                    <a:p>
                      <a:pPr algn="ctr">
                        <a:defRPr sz="1000">
                          <a:latin typeface="Calibri"/>
                        </a:defRPr>
                      </a:pPr>
                      <a:r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latin typeface="Calibri"/>
                        </a:defRPr>
                      </a:pPr>
                      <a:r>
                        <a:t>3,437,45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latin typeface="Calibri"/>
                        </a:defRPr>
                      </a:pPr>
                      <a:r>
                        <a:t>$0.1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latin typeface="Calibri"/>
                        </a:defRPr>
                      </a:pPr>
                      <a:r>
                        <a:t>$0.4M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latin typeface="Calibri"/>
                        </a:defRPr>
                      </a:pPr>
                      <a:r>
                        <a:t>$0.0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latin typeface="Calibri"/>
                        </a:defRPr>
                      </a:pPr>
                      <a:r>
                        <a:t>$0.2M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latin typeface="Calibri"/>
                        </a:defRPr>
                      </a:pPr>
                      <a:r>
                        <a:t>$0.2MM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914400">
                <a:tc>
                  <a:txBody>
                    <a:bodyPr/>
                    <a:lstStyle/>
                    <a:p>
                      <a:pPr algn="ctr">
                        <a:defRPr sz="1000">
                          <a:latin typeface="Calibri"/>
                        </a:defRPr>
                      </a:pPr>
                      <a:r>
                        <a:t>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latin typeface="Calibri"/>
                        </a:defRPr>
                      </a:pPr>
                      <a:r>
                        <a:t>3,001,11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latin typeface="Calibri"/>
                        </a:defRPr>
                      </a:pPr>
                      <a:r>
                        <a:t>$0.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latin typeface="Calibri"/>
                        </a:defRPr>
                      </a:pPr>
                      <a:r>
                        <a:t>$0.0M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latin typeface="Calibri"/>
                        </a:defRPr>
                      </a:pPr>
                      <a:r>
                        <a:t>$0.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latin typeface="Calibri"/>
                        </a:defRPr>
                      </a:pPr>
                      <a:r>
                        <a:t>$0.0M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latin typeface="Calibri"/>
                        </a:defRPr>
                      </a:pPr>
                      <a:r>
                        <a:t>$0.0MM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914400">
                <a:tc>
                  <a:txBody>
                    <a:bodyPr/>
                    <a:lstStyle/>
                    <a:p>
                      <a:pPr algn="ctr">
                        <a:defRPr sz="1000">
                          <a:latin typeface="Calibri"/>
                        </a:defRPr>
                      </a:pPr>
                      <a:r>
                        <a:t>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latin typeface="Calibri"/>
                        </a:defRPr>
                      </a:pPr>
                      <a:r>
                        <a:t>24,0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latin typeface="Calibri"/>
                        </a:defRPr>
                      </a:pPr>
                      <a:r>
                        <a:t>$0.89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latin typeface="Calibri"/>
                        </a:defRPr>
                      </a:pPr>
                      <a:r>
                        <a:t>$0.0M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latin typeface="Calibri"/>
                        </a:defRPr>
                      </a:pPr>
                      <a:r>
                        <a:t>$0.8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latin typeface="Calibri"/>
                        </a:defRPr>
                      </a:pPr>
                      <a:r>
                        <a:t>$0.0M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latin typeface="Calibri"/>
                        </a:defRPr>
                      </a:pPr>
                      <a:r>
                        <a:t>$0.0MM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914400">
                <a:tc>
                  <a:txBody>
                    <a:bodyPr/>
                    <a:lstStyle/>
                    <a:p>
                      <a:pPr algn="ctr">
                        <a:defRPr sz="1000">
                          <a:latin typeface="Calibri"/>
                        </a:defRPr>
                      </a:pPr>
                      <a:r>
                        <a:t>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latin typeface="Calibri"/>
                        </a:defRPr>
                      </a:pPr>
                      <a:r>
                        <a:t>357,8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latin typeface="Calibri"/>
                        </a:defRPr>
                      </a:pPr>
                      <a:r>
                        <a:t>$1.3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latin typeface="Calibri"/>
                        </a:defRPr>
                      </a:pPr>
                      <a:r>
                        <a:t>$0.5M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latin typeface="Calibri"/>
                        </a:defRPr>
                      </a:pPr>
                      <a:r>
                        <a:t>$1.4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latin typeface="Calibri"/>
                        </a:defRPr>
                      </a:pPr>
                      <a:r>
                        <a:t>$0.5M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latin typeface="Calibri"/>
                        </a:defRPr>
                      </a:pPr>
                      <a:r>
                        <a:t>($0.0MM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914400">
                <a:tc>
                  <a:txBody>
                    <a:bodyPr/>
                    <a:lstStyle/>
                    <a:p>
                      <a:pPr algn="ctr">
                        <a:defRPr sz="1000">
                          <a:latin typeface="Calibri"/>
                        </a:defRPr>
                      </a:pPr>
                      <a:r>
                        <a:t>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latin typeface="Calibri"/>
                        </a:defRPr>
                      </a:pPr>
                      <a:r>
                        <a:t>45,0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latin typeface="Calibri"/>
                        </a:defRPr>
                      </a:pPr>
                      <a:r>
                        <a:t>$0.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latin typeface="Calibri"/>
                        </a:defRPr>
                      </a:pPr>
                      <a:r>
                        <a:t>$0.0M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latin typeface="Calibri"/>
                        </a:defRPr>
                      </a:pPr>
                      <a:r>
                        <a:t>$0.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latin typeface="Calibri"/>
                        </a:defRPr>
                      </a:pPr>
                      <a:r>
                        <a:t>$0.0M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latin typeface="Calibri"/>
                        </a:defRPr>
                      </a:pPr>
                      <a:r>
                        <a:t>$0.0MM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47472">
                <a:tc>
                  <a:txBody>
                    <a:bodyPr/>
                    <a:lstStyle/>
                    <a:p>
                      <a:pPr algn="ctr">
                        <a:defRPr sz="1000" b="1">
                          <a:latin typeface="Calibri"/>
                        </a:defRPr>
                      </a:pPr>
                      <a:r>
                        <a:t>Total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1000" b="1">
                          <a:latin typeface="Calibri"/>
                        </a:defRPr>
                      </a:pPr>
                      <a:r>
                        <a:t>6,865,36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1000" b="1">
                          <a:latin typeface="Calibri"/>
                        </a:defRPr>
                      </a:pPr>
                      <a:endParaRPr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1000" b="1">
                          <a:latin typeface="Calibri"/>
                        </a:defRPr>
                      </a:pPr>
                      <a:r>
                        <a:t>$0.1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1000" b="1">
                          <a:latin typeface="Calibri"/>
                        </a:defRPr>
                      </a:pPr>
                      <a:r>
                        <a:t>$0.9M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1000" b="1">
                          <a:latin typeface="Calibri"/>
                        </a:defRPr>
                      </a:pPr>
                      <a:endParaRPr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1000" b="1">
                          <a:latin typeface="Calibri"/>
                        </a:defRPr>
                      </a:pPr>
                      <a:r>
                        <a:t>$0.1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1000" b="1">
                          <a:latin typeface="Calibri"/>
                        </a:defRPr>
                      </a:pPr>
                      <a:r>
                        <a:t>$0.7M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1000" b="1">
                          <a:latin typeface="Calibri"/>
                        </a:defRPr>
                      </a:pPr>
                      <a:r>
                        <a:t>$0.1MM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</a:tbl>
          </a:graphicData>
        </a:graphic>
      </p:graphicFrame>
      <p:graphicFrame>
        <p:nvGraphicFramePr>
          <p:cNvPr id="7" name="Chart 6"/>
          <p:cNvGraphicFramePr>
            <a:graphicFrameLocks noGrp="1"/>
          </p:cNvGraphicFramePr>
          <p:nvPr/>
        </p:nvGraphicFramePr>
        <p:xfrm>
          <a:off x="2997200" y="2176272"/>
          <a:ext cx="1371600" cy="9144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8" name="Chart 7"/>
          <p:cNvGraphicFramePr>
            <a:graphicFrameLocks noGrp="1"/>
          </p:cNvGraphicFramePr>
          <p:nvPr/>
        </p:nvGraphicFramePr>
        <p:xfrm>
          <a:off x="6908800" y="2176272"/>
          <a:ext cx="1371600" cy="9144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9" name="Chart 8"/>
          <p:cNvGraphicFramePr>
            <a:graphicFrameLocks noGrp="1"/>
          </p:cNvGraphicFramePr>
          <p:nvPr/>
        </p:nvGraphicFramePr>
        <p:xfrm>
          <a:off x="2997200" y="3090672"/>
          <a:ext cx="1371600" cy="9144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10" name="Chart 9"/>
          <p:cNvGraphicFramePr>
            <a:graphicFrameLocks noGrp="1"/>
          </p:cNvGraphicFramePr>
          <p:nvPr/>
        </p:nvGraphicFramePr>
        <p:xfrm>
          <a:off x="6908800" y="3090672"/>
          <a:ext cx="1371600" cy="9144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11" name="Chart 10"/>
          <p:cNvGraphicFramePr>
            <a:graphicFrameLocks noGrp="1"/>
          </p:cNvGraphicFramePr>
          <p:nvPr/>
        </p:nvGraphicFramePr>
        <p:xfrm>
          <a:off x="2997200" y="4005072"/>
          <a:ext cx="1371600" cy="9144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12" name="Chart 11"/>
          <p:cNvGraphicFramePr>
            <a:graphicFrameLocks noGrp="1"/>
          </p:cNvGraphicFramePr>
          <p:nvPr/>
        </p:nvGraphicFramePr>
        <p:xfrm>
          <a:off x="6908800" y="4005072"/>
          <a:ext cx="1371600" cy="9144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13" name="Chart 12"/>
          <p:cNvGraphicFramePr>
            <a:graphicFrameLocks noGrp="1"/>
          </p:cNvGraphicFramePr>
          <p:nvPr/>
        </p:nvGraphicFramePr>
        <p:xfrm>
          <a:off x="2997200" y="4919472"/>
          <a:ext cx="1371600" cy="9144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graphicFrame>
        <p:nvGraphicFramePr>
          <p:cNvPr id="14" name="Chart 13"/>
          <p:cNvGraphicFramePr>
            <a:graphicFrameLocks noGrp="1"/>
          </p:cNvGraphicFramePr>
          <p:nvPr/>
        </p:nvGraphicFramePr>
        <p:xfrm>
          <a:off x="6908800" y="4919472"/>
          <a:ext cx="1371600" cy="9144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graphicFrame>
        <p:nvGraphicFramePr>
          <p:cNvPr id="15" name="Chart 14"/>
          <p:cNvGraphicFramePr>
            <a:graphicFrameLocks noGrp="1"/>
          </p:cNvGraphicFramePr>
          <p:nvPr/>
        </p:nvGraphicFramePr>
        <p:xfrm>
          <a:off x="2997200" y="5833872"/>
          <a:ext cx="1371600" cy="9144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  <p:graphicFrame>
        <p:nvGraphicFramePr>
          <p:cNvPr id="16" name="Chart 15"/>
          <p:cNvGraphicFramePr>
            <a:graphicFrameLocks noGrp="1"/>
          </p:cNvGraphicFramePr>
          <p:nvPr/>
        </p:nvGraphicFramePr>
        <p:xfrm>
          <a:off x="6908800" y="5833872"/>
          <a:ext cx="1371600" cy="9144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/>
          </a:p>
        </p:txBody>
      </p:sp>
      <p:sp>
        <p:nvSpPr>
          <p:cNvPr id="5" name="TextBox 4"/>
          <p:cNvSpPr txBox="1"/>
          <p:nvPr/>
        </p:nvSpPr>
        <p:spPr>
          <a:xfrm>
            <a:off x="457200" y="182880"/>
            <a:ext cx="8229600" cy="45720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 sz="2400" b="1"/>
            </a:pPr>
            <a:r>
              <a:t>Supplier Comparison Summary</a:t>
            </a:r>
          </a:p>
        </p:txBody>
      </p:sp>
      <p:graphicFrame>
        <p:nvGraphicFramePr>
          <p:cNvPr id="6" name="Chart 5"/>
          <p:cNvGraphicFramePr>
            <a:graphicFrameLocks noGrp="1"/>
          </p:cNvGraphicFramePr>
          <p:nvPr/>
        </p:nvGraphicFramePr>
        <p:xfrm>
          <a:off x="0" y="914400"/>
          <a:ext cx="7589520" cy="27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7" name="TextBox 6"/>
          <p:cNvSpPr txBox="1"/>
          <p:nvPr/>
        </p:nvSpPr>
        <p:spPr>
          <a:xfrm>
            <a:off x="7589520" y="914400"/>
            <a:ext cx="3657600" cy="258775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endParaRPr/>
          </a:p>
          <a:p>
            <a:pPr>
              <a:defRPr b="1"/>
            </a:pPr>
            <a:r>
              <a:t>Average % from Current by Supplier</a:t>
            </a:r>
          </a:p>
          <a:p>
            <a:pPr lvl="1"/>
            <a:r>
              <a:t>Fill in comments here</a:t>
            </a:r>
          </a:p>
          <a:p>
            <a:pPr lvl="1"/>
            <a:r>
              <a:t>Fill in comments here</a:t>
            </a:r>
          </a:p>
          <a:p>
            <a:pPr lvl="1"/>
            <a:r>
              <a:t>Fill in comments here</a:t>
            </a:r>
          </a:p>
          <a:p>
            <a:endParaRPr/>
          </a:p>
          <a:p>
            <a:pPr>
              <a:defRPr b="1"/>
            </a:pPr>
            <a:r>
              <a:t>Average % from Current by Grouping</a:t>
            </a:r>
          </a:p>
          <a:p>
            <a:pPr lvl="1"/>
            <a:r>
              <a:t>Fill in comments here</a:t>
            </a:r>
          </a:p>
          <a:p>
            <a:pPr lvl="1"/>
            <a:r>
              <a:t>Fill in comments here</a:t>
            </a:r>
          </a:p>
          <a:p>
            <a:pPr lvl="1"/>
            <a:r>
              <a:t>Fill in comments here</a:t>
            </a:r>
          </a:p>
        </p:txBody>
      </p:sp>
      <p:graphicFrame>
        <p:nvGraphicFramePr>
          <p:cNvPr id="8" name="Table 7"/>
          <p:cNvGraphicFramePr>
            <a:graphicFrameLocks noGrp="1"/>
          </p:cNvGraphicFramePr>
          <p:nvPr/>
        </p:nvGraphicFramePr>
        <p:xfrm>
          <a:off x="457200" y="4114800"/>
          <a:ext cx="4114800" cy="1828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58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858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6858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6858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68580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685800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304800">
                <a:tc>
                  <a:txBody>
                    <a:bodyPr/>
                    <a:lstStyle/>
                    <a:p>
                      <a:endParaRPr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defRPr sz="800" b="1">
                          <a:latin typeface="Calibri"/>
                        </a:defRPr>
                      </a:pPr>
                      <a:r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defRPr sz="800" b="1">
                          <a:latin typeface="Calibri"/>
                        </a:defRPr>
                      </a:pPr>
                      <a:r>
                        <a:t>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defRPr sz="800" b="1">
                          <a:latin typeface="Calibri"/>
                        </a:defRPr>
                      </a:pPr>
                      <a:r>
                        <a:t>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defRPr sz="800" b="1">
                          <a:latin typeface="Calibri"/>
                        </a:defRPr>
                      </a:pPr>
                      <a:r>
                        <a:t>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defRPr sz="800" b="1">
                          <a:latin typeface="Calibri"/>
                        </a:defRPr>
                      </a:pPr>
                      <a:r>
                        <a:t>5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04800">
                <a:tc>
                  <a:txBody>
                    <a:bodyPr/>
                    <a:lstStyle/>
                    <a:p>
                      <a:pPr>
                        <a:defRPr sz="800" b="1">
                          <a:latin typeface="Calibri"/>
                        </a:defRPr>
                      </a:pPr>
                      <a:r>
                        <a:t>Supplier 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defRPr sz="800">
                          <a:latin typeface="Calibri"/>
                        </a:defRPr>
                      </a:pPr>
                      <a:r>
                        <a:t>-52.4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defRPr sz="800">
                          <a:latin typeface="Calibri"/>
                        </a:defRPr>
                      </a:pPr>
                      <a:r>
                        <a:t>16.4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defRPr sz="800">
                          <a:latin typeface="Calibri"/>
                        </a:defRPr>
                      </a:pPr>
                      <a:r>
                        <a:t>-10.1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defRPr sz="800">
                          <a:latin typeface="Calibri"/>
                        </a:defRPr>
                      </a:pPr>
                      <a:r>
                        <a:t>10.8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defRPr sz="800">
                          <a:latin typeface="Calibri"/>
                        </a:defRPr>
                      </a:pPr>
                      <a:r>
                        <a:t>2.1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04800">
                <a:tc>
                  <a:txBody>
                    <a:bodyPr/>
                    <a:lstStyle/>
                    <a:p>
                      <a:pPr>
                        <a:defRPr sz="800" b="1">
                          <a:latin typeface="Calibri"/>
                        </a:defRPr>
                      </a:pPr>
                      <a:r>
                        <a:t>Supplier 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defRPr sz="800">
                          <a:latin typeface="Calibri"/>
                        </a:defRPr>
                      </a:pPr>
                      <a:r>
                        <a:t>-71.7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defRPr sz="800">
                          <a:latin typeface="Calibri"/>
                        </a:defRPr>
                      </a:pPr>
                      <a:r>
                        <a:t>13.7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defRPr sz="800">
                          <a:latin typeface="Calibri"/>
                        </a:defRPr>
                      </a:pPr>
                      <a:r>
                        <a:t>-10.0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defRPr sz="800">
                          <a:latin typeface="Calibri"/>
                        </a:defRPr>
                      </a:pPr>
                      <a:r>
                        <a:t>10.1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defRPr sz="800">
                          <a:latin typeface="Calibri"/>
                        </a:defRPr>
                      </a:pPr>
                      <a:r>
                        <a:t>5.3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04800">
                <a:tc>
                  <a:txBody>
                    <a:bodyPr/>
                    <a:lstStyle/>
                    <a:p>
                      <a:pPr>
                        <a:defRPr sz="800" b="1">
                          <a:latin typeface="Calibri"/>
                        </a:defRPr>
                      </a:pPr>
                      <a:r>
                        <a:t>Supplier 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defRPr sz="800">
                          <a:latin typeface="Calibri"/>
                        </a:defRPr>
                      </a:pPr>
                      <a:r>
                        <a:t>-81.3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defRPr sz="800">
                          <a:latin typeface="Calibri"/>
                        </a:defRPr>
                      </a:pPr>
                      <a:r>
                        <a:t>14.7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defRPr sz="800">
                          <a:latin typeface="Calibri"/>
                        </a:defRPr>
                      </a:pPr>
                      <a:r>
                        <a:t>-8.7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defRPr sz="800">
                          <a:latin typeface="Calibri"/>
                        </a:defRPr>
                      </a:pPr>
                      <a:r>
                        <a:t>9.9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defRPr sz="800">
                          <a:latin typeface="Calibri"/>
                        </a:defRPr>
                      </a:pPr>
                      <a:r>
                        <a:t>2.8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04800">
                <a:tc>
                  <a:txBody>
                    <a:bodyPr/>
                    <a:lstStyle/>
                    <a:p>
                      <a:pPr>
                        <a:defRPr sz="800" b="1">
                          <a:latin typeface="Calibri"/>
                        </a:defRPr>
                      </a:pPr>
                      <a:r>
                        <a:t>Supplier 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defRPr sz="800">
                          <a:latin typeface="Calibri"/>
                        </a:defRPr>
                      </a:pPr>
                      <a:r>
                        <a:t>126.6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defRPr sz="800">
                          <a:latin typeface="Calibri"/>
                        </a:defRPr>
                      </a:pPr>
                      <a:r>
                        <a:t>-6.4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defRPr sz="800">
                          <a:latin typeface="Calibri"/>
                        </a:defRPr>
                      </a:pPr>
                      <a:r>
                        <a:t>-9.0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defRPr sz="800">
                          <a:latin typeface="Calibri"/>
                        </a:defRPr>
                      </a:pPr>
                      <a:r>
                        <a:t>9.8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defRPr sz="800">
                          <a:latin typeface="Calibri"/>
                        </a:defRPr>
                      </a:pPr>
                      <a:r>
                        <a:t>28.6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04800">
                <a:tc>
                  <a:txBody>
                    <a:bodyPr/>
                    <a:lstStyle/>
                    <a:p>
                      <a:pPr>
                        <a:defRPr sz="800" b="1">
                          <a:latin typeface="Calibri"/>
                        </a:defRPr>
                      </a:pPr>
                      <a:r>
                        <a:t>Supplier 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defRPr sz="800">
                          <a:latin typeface="Calibri"/>
                        </a:defRPr>
                      </a:pPr>
                      <a:r>
                        <a:t>-83.9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defRPr sz="800">
                          <a:latin typeface="Calibri"/>
                        </a:defRPr>
                      </a:pPr>
                      <a:r>
                        <a:t>15.0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defRPr sz="800">
                          <a:latin typeface="Calibri"/>
                        </a:defRPr>
                      </a:pPr>
                      <a:r>
                        <a:t>-8.9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defRPr sz="800">
                          <a:latin typeface="Calibri"/>
                        </a:defRPr>
                      </a:pPr>
                      <a:r>
                        <a:t>8.6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defRPr sz="800">
                          <a:latin typeface="Calibri"/>
                        </a:defRPr>
                      </a:pPr>
                      <a:r>
                        <a:t>10.4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graphicFrame>
        <p:nvGraphicFramePr>
          <p:cNvPr id="9" name="Table 8"/>
          <p:cNvGraphicFramePr>
            <a:graphicFrameLocks noGrp="1"/>
          </p:cNvGraphicFramePr>
          <p:nvPr/>
        </p:nvGraphicFramePr>
        <p:xfrm>
          <a:off x="8769096" y="4105656"/>
          <a:ext cx="2743200" cy="213055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3716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3716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304364">
                <a:tc gridSpan="2">
                  <a:txBody>
                    <a:bodyPr/>
                    <a:lstStyle/>
                    <a:p>
                      <a:pPr algn="ctr">
                        <a:defRPr sz="800" b="1">
                          <a:latin typeface="Calibri"/>
                        </a:defRPr>
                      </a:pPr>
                      <a:r>
                        <a:t>Average % from Current by Supplier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04364">
                <a:tc>
                  <a:txBody>
                    <a:bodyPr/>
                    <a:lstStyle/>
                    <a:p>
                      <a:pPr>
                        <a:defRPr sz="800" b="1">
                          <a:latin typeface="Calibri"/>
                        </a:defRPr>
                      </a:pPr>
                      <a:r>
                        <a:t>Suppli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defRPr sz="800" b="1">
                          <a:latin typeface="Calibri"/>
                        </a:defRPr>
                      </a:pPr>
                      <a:r>
                        <a:t>Avg 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04364">
                <a:tc>
                  <a:txBody>
                    <a:bodyPr/>
                    <a:lstStyle/>
                    <a:p>
                      <a:pPr>
                        <a:defRPr sz="800">
                          <a:latin typeface="Calibri"/>
                        </a:defRPr>
                      </a:pPr>
                      <a:r>
                        <a:t>Supplier 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defRPr sz="800">
                          <a:latin typeface="Calibri"/>
                        </a:defRPr>
                      </a:pPr>
                      <a:r>
                        <a:t>-6.6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04364">
                <a:tc>
                  <a:txBody>
                    <a:bodyPr/>
                    <a:lstStyle/>
                    <a:p>
                      <a:pPr>
                        <a:defRPr sz="800">
                          <a:latin typeface="Calibri"/>
                        </a:defRPr>
                      </a:pPr>
                      <a:r>
                        <a:t>Supplier 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defRPr sz="800">
                          <a:latin typeface="Calibri"/>
                        </a:defRPr>
                      </a:pPr>
                      <a:r>
                        <a:t>-10.5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04364">
                <a:tc>
                  <a:txBody>
                    <a:bodyPr/>
                    <a:lstStyle/>
                    <a:p>
                      <a:pPr>
                        <a:defRPr sz="800">
                          <a:latin typeface="Calibri"/>
                        </a:defRPr>
                      </a:pPr>
                      <a:r>
                        <a:t>Supplier 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defRPr sz="800">
                          <a:latin typeface="Calibri"/>
                        </a:defRPr>
                      </a:pPr>
                      <a:r>
                        <a:t>-12.5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04364">
                <a:tc>
                  <a:txBody>
                    <a:bodyPr/>
                    <a:lstStyle/>
                    <a:p>
                      <a:pPr>
                        <a:defRPr sz="800">
                          <a:latin typeface="Calibri"/>
                        </a:defRPr>
                      </a:pPr>
                      <a:r>
                        <a:t>Supplier 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defRPr sz="800">
                          <a:latin typeface="Calibri"/>
                        </a:defRPr>
                      </a:pPr>
                      <a:r>
                        <a:t>29.9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04368">
                <a:tc>
                  <a:txBody>
                    <a:bodyPr/>
                    <a:lstStyle/>
                    <a:p>
                      <a:pPr>
                        <a:defRPr sz="800">
                          <a:latin typeface="Calibri"/>
                        </a:defRPr>
                      </a:pPr>
                      <a:r>
                        <a:t>Supplier 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defRPr sz="800">
                          <a:latin typeface="Calibri"/>
                        </a:defRPr>
                      </a:pPr>
                      <a:r>
                        <a:t>-11.8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</a:tbl>
          </a:graphicData>
        </a:graphic>
      </p:graphicFrame>
      <p:graphicFrame>
        <p:nvGraphicFramePr>
          <p:cNvPr id="10" name="Table 9"/>
          <p:cNvGraphicFramePr>
            <a:graphicFrameLocks noGrp="1"/>
          </p:cNvGraphicFramePr>
          <p:nvPr/>
        </p:nvGraphicFramePr>
        <p:xfrm>
          <a:off x="5330952" y="4114800"/>
          <a:ext cx="2743200" cy="12801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3716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3716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182880">
                <a:tc gridSpan="2">
                  <a:txBody>
                    <a:bodyPr/>
                    <a:lstStyle/>
                    <a:p>
                      <a:pPr algn="ctr">
                        <a:defRPr sz="800" b="1">
                          <a:latin typeface="Calibri"/>
                        </a:defRPr>
                      </a:pPr>
                      <a:r>
                        <a:t>Average % from Current by Grouping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>
                        <a:defRPr sz="800" b="1">
                          <a:latin typeface="Calibri"/>
                        </a:defRPr>
                      </a:pPr>
                      <a:r>
                        <a:t>Groupi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defRPr sz="800" b="1">
                          <a:latin typeface="Calibri"/>
                        </a:defRPr>
                      </a:pPr>
                      <a:r>
                        <a:t>Avg 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>
                        <a:defRPr sz="800">
                          <a:latin typeface="Calibri"/>
                        </a:defRPr>
                      </a:pPr>
                      <a:r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defRPr sz="800">
                          <a:latin typeface="Calibri"/>
                        </a:defRPr>
                      </a:pPr>
                      <a:r>
                        <a:t>-32.5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>
                        <a:defRPr sz="800">
                          <a:latin typeface="Calibri"/>
                        </a:defRPr>
                      </a:pPr>
                      <a:r>
                        <a:t>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defRPr sz="800">
                          <a:latin typeface="Calibri"/>
                        </a:defRPr>
                      </a:pPr>
                      <a:r>
                        <a:t>10.7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>
                        <a:defRPr sz="800">
                          <a:latin typeface="Calibri"/>
                        </a:defRPr>
                      </a:pPr>
                      <a:r>
                        <a:t>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defRPr sz="800">
                          <a:latin typeface="Calibri"/>
                        </a:defRPr>
                      </a:pPr>
                      <a:r>
                        <a:t>-9.4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>
                        <a:defRPr sz="800">
                          <a:latin typeface="Calibri"/>
                        </a:defRPr>
                      </a:pPr>
                      <a:r>
                        <a:t>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defRPr sz="800">
                          <a:latin typeface="Calibri"/>
                        </a:defRPr>
                      </a:pPr>
                      <a:r>
                        <a:t>9.8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>
                        <a:defRPr sz="800">
                          <a:latin typeface="Calibri"/>
                        </a:defRPr>
                      </a:pPr>
                      <a:r>
                        <a:t>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defRPr sz="800">
                          <a:latin typeface="Calibri"/>
                        </a:defRPr>
                      </a:pPr>
                      <a:r>
                        <a:t>9.8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</a:tbl>
          </a:graphicData>
        </a:graphic>
      </p:graphicFrame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0" y="9144"/>
            <a:ext cx="10972800" cy="384048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l">
              <a:defRPr sz="2500" b="1">
                <a:solidFill>
                  <a:srgbClr val="003399"/>
                </a:solidFill>
                <a:latin typeface="Calibri"/>
              </a:defRPr>
            </a:pPr>
            <a:r>
              <a:t>Bid Coverage by Bid ID</a:t>
            </a:r>
          </a:p>
        </p:txBody>
      </p:sp>
      <p:graphicFrame>
        <p:nvGraphicFramePr>
          <p:cNvPr id="3" name="Table 2"/>
          <p:cNvGraphicFramePr>
            <a:graphicFrameLocks noGrp="1"/>
          </p:cNvGraphicFramePr>
          <p:nvPr/>
        </p:nvGraphicFramePr>
        <p:xfrm>
          <a:off x="457200" y="1097280"/>
          <a:ext cx="10972800" cy="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56754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56754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56754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567542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567542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567542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1567548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algn="ctr">
                        <a:defRPr sz="1100" b="1"/>
                      </a:pPr>
                      <a:r>
                        <a:t>Bid I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1100" b="1"/>
                      </a:pPr>
                      <a:r>
                        <a:t># of Bid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1100" b="1"/>
                      </a:pPr>
                      <a:r>
                        <a:t>Supplier 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1100" b="1"/>
                      </a:pPr>
                      <a:r>
                        <a:t>Supplier 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1100" b="1"/>
                      </a:pPr>
                      <a:r>
                        <a:t>Supplier 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1100" b="1"/>
                      </a:pPr>
                      <a:r>
                        <a:t>Supplier 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1100" b="1"/>
                      </a:pPr>
                      <a:r>
                        <a:t>Supplier 5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>
                        <a:defRPr sz="1000" b="1"/>
                      </a:pPr>
                      <a:r>
                        <a:t>All Item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1000" b="0"/>
                      </a:pPr>
                      <a:r>
                        <a:t>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1000" b="0"/>
                      </a:pPr>
                      <a:r>
                        <a:t>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1000" b="0"/>
                      </a:pPr>
                      <a:r>
                        <a:t>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1000" b="0"/>
                      </a:pPr>
                      <a:r>
                        <a:t>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1000" b="0"/>
                      </a:pPr>
                      <a:r>
                        <a:t>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1000" b="0"/>
                      </a:pPr>
                      <a:r>
                        <a:t>5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>
                        <a:defRPr sz="1000" b="1"/>
                      </a:pPr>
                      <a:r>
                        <a:t>Item Coverage 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1000" b="0"/>
                      </a:pPr>
                      <a:endParaRPr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1000" b="0"/>
                      </a:pPr>
                      <a:r>
                        <a:t>100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1000" b="0"/>
                      </a:pPr>
                      <a:r>
                        <a:t>100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1000" b="0"/>
                      </a:pPr>
                      <a:r>
                        <a:t>100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1000" b="0"/>
                      </a:pPr>
                      <a:r>
                        <a:t>100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1000" b="0"/>
                      </a:pPr>
                      <a:r>
                        <a:t>100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>
                        <a:defRPr sz="1000" b="1"/>
                      </a:pPr>
                      <a:r>
                        <a:t>Savings (Use Current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1000"/>
                      </a:pPr>
                      <a:endParaRPr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1000" b="1">
                          <a:solidFill>
                            <a:srgbClr val="FF0000"/>
                          </a:solidFill>
                        </a:defRPr>
                      </a:pPr>
                      <a:r>
                        <a:t>($0.4MM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1000" b="1">
                          <a:solidFill>
                            <a:srgbClr val="FF0000"/>
                          </a:solidFill>
                        </a:defRPr>
                      </a:pPr>
                      <a:r>
                        <a:t>($0.2MM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1000" b="1">
                          <a:solidFill>
                            <a:srgbClr val="FF0000"/>
                          </a:solidFill>
                        </a:defRPr>
                      </a:pPr>
                      <a:r>
                        <a:t>($0.2MM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1000" b="1">
                          <a:solidFill>
                            <a:srgbClr val="FF0000"/>
                          </a:solidFill>
                        </a:defRPr>
                      </a:pPr>
                      <a:r>
                        <a:t>($0.3MM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1000" b="1">
                          <a:solidFill>
                            <a:srgbClr val="FF0000"/>
                          </a:solidFill>
                        </a:defRPr>
                      </a:pPr>
                      <a:r>
                        <a:t>($0.2MM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>
                        <a:defRPr sz="1000" b="1"/>
                      </a:pPr>
                      <a:r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1000" b="0"/>
                      </a:pPr>
                      <a:r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1000" b="0"/>
                      </a:pPr>
                      <a:r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1000" b="0"/>
                      </a:pPr>
                      <a:r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1000" b="0"/>
                      </a:pPr>
                      <a:r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1000" b="0"/>
                      </a:pPr>
                      <a:r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1000" b="0"/>
                      </a:pPr>
                      <a:r>
                        <a:t>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>
                        <a:defRPr sz="1000" b="1"/>
                      </a:pPr>
                      <a:r>
                        <a:t>Item Coverage 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1000" b="0"/>
                      </a:pPr>
                      <a:endParaRPr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1000" b="0"/>
                      </a:pPr>
                      <a:r>
                        <a:t>100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1000" b="0"/>
                      </a:pPr>
                      <a:r>
                        <a:t>100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1000" b="0"/>
                      </a:pPr>
                      <a:r>
                        <a:t>100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1000" b="0"/>
                      </a:pPr>
                      <a:r>
                        <a:t>100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1000" b="0"/>
                      </a:pPr>
                      <a:r>
                        <a:t>100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>
                        <a:defRPr sz="1000" b="1"/>
                      </a:pPr>
                      <a:r>
                        <a:t>Savings (Use Current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1000"/>
                      </a:pPr>
                      <a:endParaRPr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1000" b="1">
                          <a:solidFill>
                            <a:srgbClr val="008000"/>
                          </a:solidFill>
                        </a:defRPr>
                      </a:pPr>
                      <a:r>
                        <a:t>$0.2M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1000" b="1">
                          <a:solidFill>
                            <a:srgbClr val="008000"/>
                          </a:solidFill>
                        </a:defRPr>
                      </a:pPr>
                      <a:r>
                        <a:t>$0.3M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1000" b="1">
                          <a:solidFill>
                            <a:srgbClr val="008000"/>
                          </a:solidFill>
                        </a:defRPr>
                      </a:pPr>
                      <a:r>
                        <a:t>$0.3M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1000" b="1">
                          <a:solidFill>
                            <a:srgbClr val="FF0000"/>
                          </a:solidFill>
                        </a:defRPr>
                      </a:pPr>
                      <a:r>
                        <a:t>($0.5MM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1000" b="1">
                          <a:solidFill>
                            <a:srgbClr val="008000"/>
                          </a:solidFill>
                        </a:defRPr>
                      </a:pPr>
                      <a:r>
                        <a:t>$0.3MM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>
                        <a:defRPr sz="1000" b="1"/>
                      </a:pPr>
                      <a:r>
                        <a:t>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1000" b="0"/>
                      </a:pPr>
                      <a:r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1000" b="0"/>
                      </a:pPr>
                      <a:r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1000" b="0"/>
                      </a:pPr>
                      <a:r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1000" b="0"/>
                      </a:pPr>
                      <a:r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1000" b="0"/>
                      </a:pPr>
                      <a:r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1000" b="0"/>
                      </a:pPr>
                      <a:r>
                        <a:t>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>
                        <a:defRPr sz="1000" b="1"/>
                      </a:pPr>
                      <a:r>
                        <a:t>Item Coverage 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1000" b="0"/>
                      </a:pPr>
                      <a:endParaRPr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1000" b="0"/>
                      </a:pPr>
                      <a:r>
                        <a:t>100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1000" b="0"/>
                      </a:pPr>
                      <a:r>
                        <a:t>100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1000" b="0"/>
                      </a:pPr>
                      <a:r>
                        <a:t>100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1000" b="0"/>
                      </a:pPr>
                      <a:r>
                        <a:t>100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1000" b="0"/>
                      </a:pPr>
                      <a:r>
                        <a:t>100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>
                        <a:defRPr sz="1000" b="1"/>
                      </a:pPr>
                      <a:r>
                        <a:t>Savings (Use Current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1000"/>
                      </a:pPr>
                      <a:endParaRPr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1000" b="1">
                          <a:solidFill>
                            <a:srgbClr val="FF0000"/>
                          </a:solidFill>
                        </a:defRPr>
                      </a:pPr>
                      <a:r>
                        <a:t>($0.5MM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1000" b="1">
                          <a:solidFill>
                            <a:srgbClr val="FF0000"/>
                          </a:solidFill>
                        </a:defRPr>
                      </a:pPr>
                      <a:r>
                        <a:t>($0.4MM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1000" b="1">
                          <a:solidFill>
                            <a:srgbClr val="FF0000"/>
                          </a:solidFill>
                        </a:defRPr>
                      </a:pPr>
                      <a:r>
                        <a:t>($0.5MM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1000" b="1">
                          <a:solidFill>
                            <a:srgbClr val="008000"/>
                          </a:solidFill>
                        </a:defRPr>
                      </a:pPr>
                      <a:r>
                        <a:t>$0.2M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1000" b="1">
                          <a:solidFill>
                            <a:srgbClr val="FF0000"/>
                          </a:solidFill>
                        </a:defRPr>
                      </a:pPr>
                      <a:r>
                        <a:t>($0.5MM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>
                        <a:defRPr sz="1000" b="1"/>
                      </a:pPr>
                      <a:r>
                        <a:t>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1000" b="0"/>
                      </a:pPr>
                      <a:r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1000" b="0"/>
                      </a:pPr>
                      <a:r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1000" b="0"/>
                      </a:pPr>
                      <a:r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1000" b="0"/>
                      </a:pPr>
                      <a:r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1000" b="0"/>
                      </a:pPr>
                      <a:r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1000" b="0"/>
                      </a:pPr>
                      <a:r>
                        <a:t>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>
                        <a:defRPr sz="1000" b="1"/>
                      </a:pPr>
                      <a:r>
                        <a:t>Item Coverage 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1000" b="0"/>
                      </a:pPr>
                      <a:endParaRPr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1000" b="0"/>
                      </a:pPr>
                      <a:r>
                        <a:t>100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1000" b="0"/>
                      </a:pPr>
                      <a:r>
                        <a:t>100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1000" b="0"/>
                      </a:pPr>
                      <a:r>
                        <a:t>100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1000" b="0"/>
                      </a:pPr>
                      <a:r>
                        <a:t>100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1000" b="0"/>
                      </a:pPr>
                      <a:r>
                        <a:t>100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>
                        <a:defRPr sz="1000" b="1"/>
                      </a:pPr>
                      <a:r>
                        <a:t>Savings (Use Current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1000"/>
                      </a:pPr>
                      <a:endParaRPr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1000" b="1">
                          <a:solidFill>
                            <a:srgbClr val="008000"/>
                          </a:solidFill>
                        </a:defRPr>
                      </a:pPr>
                      <a:r>
                        <a:t>$0.0M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1000" b="1">
                          <a:solidFill>
                            <a:srgbClr val="008000"/>
                          </a:solidFill>
                        </a:defRPr>
                      </a:pPr>
                      <a:r>
                        <a:t>$0.0M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1000" b="1">
                          <a:solidFill>
                            <a:srgbClr val="008000"/>
                          </a:solidFill>
                        </a:defRPr>
                      </a:pPr>
                      <a:r>
                        <a:t>$0.0M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1000" b="1">
                          <a:solidFill>
                            <a:srgbClr val="008000"/>
                          </a:solidFill>
                        </a:defRPr>
                      </a:pPr>
                      <a:r>
                        <a:t>$0.0M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1000" b="1">
                          <a:solidFill>
                            <a:srgbClr val="008000"/>
                          </a:solidFill>
                        </a:defRPr>
                      </a:pPr>
                      <a:r>
                        <a:t>$0.0MM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>
                        <a:defRPr sz="1000" b="1"/>
                      </a:pPr>
                      <a:r>
                        <a:t>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1000" b="0"/>
                      </a:pPr>
                      <a:r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1000" b="0"/>
                      </a:pPr>
                      <a:r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1000" b="0"/>
                      </a:pPr>
                      <a:r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1000" b="0"/>
                      </a:pPr>
                      <a:r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1000" b="0"/>
                      </a:pPr>
                      <a:r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1000" b="0"/>
                      </a:pPr>
                      <a:r>
                        <a:t>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>
                        <a:defRPr sz="1000" b="1"/>
                      </a:pPr>
                      <a:r>
                        <a:t>Item Coverage 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1000" b="0"/>
                      </a:pPr>
                      <a:endParaRPr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1000" b="0"/>
                      </a:pPr>
                      <a:r>
                        <a:t>100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1000" b="0"/>
                      </a:pPr>
                      <a:r>
                        <a:t>100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1000" b="0"/>
                      </a:pPr>
                      <a:r>
                        <a:t>100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1000" b="0"/>
                      </a:pPr>
                      <a:r>
                        <a:t>100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1000" b="0"/>
                      </a:pPr>
                      <a:r>
                        <a:t>100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>
                        <a:defRPr sz="1000" b="1"/>
                      </a:pPr>
                      <a:r>
                        <a:t>Savings (Use Current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1000"/>
                      </a:pPr>
                      <a:endParaRPr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1000" b="1">
                          <a:solidFill>
                            <a:srgbClr val="FF0000"/>
                          </a:solidFill>
                        </a:defRPr>
                      </a:pPr>
                      <a:r>
                        <a:t>($0.1MM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1000" b="1">
                          <a:solidFill>
                            <a:srgbClr val="FF0000"/>
                          </a:solidFill>
                        </a:defRPr>
                      </a:pPr>
                      <a:r>
                        <a:t>($0.0MM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1000" b="1">
                          <a:solidFill>
                            <a:srgbClr val="FF0000"/>
                          </a:solidFill>
                        </a:defRPr>
                      </a:pPr>
                      <a:r>
                        <a:t>($0.0MM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1000" b="1">
                          <a:solidFill>
                            <a:srgbClr val="FF0000"/>
                          </a:solidFill>
                        </a:defRPr>
                      </a:pPr>
                      <a:r>
                        <a:t>($0.0MM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1000" b="1">
                          <a:solidFill>
                            <a:srgbClr val="FF0000"/>
                          </a:solidFill>
                        </a:defRPr>
                      </a:pPr>
                      <a:r>
                        <a:t>($0.0MM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>
                        <a:defRPr sz="1000" b="1"/>
                      </a:pPr>
                      <a:r>
                        <a:t>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1000" b="0"/>
                      </a:pPr>
                      <a:r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1000" b="0"/>
                      </a:pPr>
                      <a:r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1000" b="0"/>
                      </a:pPr>
                      <a:r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1000" b="0"/>
                      </a:pPr>
                      <a:r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1000" b="0"/>
                      </a:pPr>
                      <a:r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1000" b="0"/>
                      </a:pPr>
                      <a:r>
                        <a:t>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6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>
                        <a:defRPr sz="1000" b="1"/>
                      </a:pPr>
                      <a:r>
                        <a:t>Item Coverage 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1000" b="0"/>
                      </a:pPr>
                      <a:endParaRPr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1000" b="0"/>
                      </a:pPr>
                      <a:r>
                        <a:t>100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1000" b="0"/>
                      </a:pPr>
                      <a:r>
                        <a:t>100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1000" b="0"/>
                      </a:pPr>
                      <a:r>
                        <a:t>100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1000" b="0"/>
                      </a:pPr>
                      <a:r>
                        <a:t>100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1000" b="0"/>
                      </a:pPr>
                      <a:r>
                        <a:t>100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>
                        <a:defRPr sz="1000" b="1"/>
                      </a:pPr>
                      <a:r>
                        <a:t>Savings (Use Current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1000"/>
                      </a:pPr>
                      <a:endParaRPr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1000" b="1">
                          <a:solidFill>
                            <a:srgbClr val="FF0000"/>
                          </a:solidFill>
                        </a:defRPr>
                      </a:pPr>
                      <a:r>
                        <a:t>($0.0MM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1000" b="1">
                          <a:solidFill>
                            <a:srgbClr val="FF0000"/>
                          </a:solidFill>
                        </a:defRPr>
                      </a:pPr>
                      <a:r>
                        <a:t>($0.0MM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1000" b="1">
                          <a:solidFill>
                            <a:srgbClr val="FF0000"/>
                          </a:solidFill>
                        </a:defRPr>
                      </a:pPr>
                      <a:r>
                        <a:t>($0.0MM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1000" b="1">
                          <a:solidFill>
                            <a:srgbClr val="FF0000"/>
                          </a:solidFill>
                        </a:defRPr>
                      </a:pPr>
                      <a:r>
                        <a:t>($0.0MM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1000" b="1">
                          <a:solidFill>
                            <a:srgbClr val="FF0000"/>
                          </a:solidFill>
                        </a:defRPr>
                      </a:pPr>
                      <a:r>
                        <a:t>($0.0MM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8"/>
                  </a:ext>
                </a:extLst>
              </a:tr>
            </a:tbl>
          </a:graphicData>
        </a:graphic>
      </p:graphicFrame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0" y="9144"/>
            <a:ext cx="10972800" cy="384048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l">
              <a:defRPr sz="2500" b="1">
                <a:solidFill>
                  <a:srgbClr val="003399"/>
                </a:solidFill>
                <a:latin typeface="Calibri"/>
              </a:defRPr>
            </a:pPr>
            <a:r>
              <a:t>Bid Coverage by Bid ID Tables</a:t>
            </a:r>
          </a:p>
        </p:txBody>
      </p:sp>
      <p:graphicFrame>
        <p:nvGraphicFramePr>
          <p:cNvPr id="3" name="Table 2"/>
          <p:cNvGraphicFramePr>
            <a:graphicFrameLocks noGrp="1"/>
          </p:cNvGraphicFramePr>
          <p:nvPr/>
        </p:nvGraphicFramePr>
        <p:xfrm>
          <a:off x="457200" y="3657600"/>
          <a:ext cx="5486400" cy="27432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144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457200">
                <a:tc>
                  <a:txBody>
                    <a:bodyPr/>
                    <a:lstStyle/>
                    <a:p>
                      <a:pPr algn="ctr">
                        <a:defRPr sz="900" b="1">
                          <a:latin typeface="Calibri"/>
                        </a:defRPr>
                      </a:pPr>
                      <a:r>
                        <a:t>Group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900" b="1">
                          <a:latin typeface="Calibri"/>
                        </a:defRPr>
                      </a:pPr>
                      <a:r>
                        <a:t># of Item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900" b="1">
                          <a:latin typeface="Calibri"/>
                        </a:defRPr>
                      </a:pPr>
                      <a:r>
                        <a:t>New &amp; Incumben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900" b="1">
                          <a:latin typeface="Calibri"/>
                        </a:defRPr>
                      </a:pPr>
                      <a:r>
                        <a:t>Only New Supplier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900" b="1">
                          <a:latin typeface="Calibri"/>
                        </a:defRPr>
                      </a:pPr>
                      <a:r>
                        <a:t>Only Incumben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900" b="1">
                          <a:latin typeface="Calibri"/>
                        </a:defRPr>
                      </a:pPr>
                      <a:r>
                        <a:t>Not Covered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57200">
                <a:tc>
                  <a:txBody>
                    <a:bodyPr/>
                    <a:lstStyle/>
                    <a:p>
                      <a:pPr algn="l">
                        <a:defRPr sz="1000">
                          <a:latin typeface="Calibri"/>
                        </a:defRPr>
                      </a:pPr>
                      <a:r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latin typeface="Calibri"/>
                        </a:defRPr>
                      </a:pPr>
                      <a:r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latin typeface="Calibri"/>
                        </a:defRPr>
                      </a:pPr>
                      <a:r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latin typeface="Calibri"/>
                        </a:defRPr>
                      </a:pPr>
                      <a:r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latin typeface="Calibri"/>
                        </a:defRPr>
                      </a:pPr>
                      <a:r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latin typeface="Calibri"/>
                        </a:defRPr>
                      </a:pPr>
                      <a:r>
                        <a:t>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57200">
                <a:tc>
                  <a:txBody>
                    <a:bodyPr/>
                    <a:lstStyle/>
                    <a:p>
                      <a:pPr algn="l">
                        <a:defRPr sz="1000">
                          <a:latin typeface="Calibri"/>
                        </a:defRPr>
                      </a:pPr>
                      <a:r>
                        <a:t>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latin typeface="Calibri"/>
                        </a:defRPr>
                      </a:pPr>
                      <a:r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latin typeface="Calibri"/>
                        </a:defRPr>
                      </a:pPr>
                      <a:r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latin typeface="Calibri"/>
                        </a:defRPr>
                      </a:pPr>
                      <a:r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latin typeface="Calibri"/>
                        </a:defRPr>
                      </a:pPr>
                      <a:r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latin typeface="Calibri"/>
                        </a:defRPr>
                      </a:pPr>
                      <a:r>
                        <a:t>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57200">
                <a:tc>
                  <a:txBody>
                    <a:bodyPr/>
                    <a:lstStyle/>
                    <a:p>
                      <a:pPr algn="l">
                        <a:defRPr sz="1000">
                          <a:latin typeface="Calibri"/>
                        </a:defRPr>
                      </a:pPr>
                      <a:r>
                        <a:t>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latin typeface="Calibri"/>
                        </a:defRPr>
                      </a:pPr>
                      <a:r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latin typeface="Calibri"/>
                        </a:defRPr>
                      </a:pPr>
                      <a:r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latin typeface="Calibri"/>
                        </a:defRPr>
                      </a:pPr>
                      <a:r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latin typeface="Calibri"/>
                        </a:defRPr>
                      </a:pPr>
                      <a:r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latin typeface="Calibri"/>
                        </a:defRPr>
                      </a:pPr>
                      <a:r>
                        <a:t>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57200">
                <a:tc>
                  <a:txBody>
                    <a:bodyPr/>
                    <a:lstStyle/>
                    <a:p>
                      <a:pPr algn="l">
                        <a:defRPr sz="1000">
                          <a:latin typeface="Calibri"/>
                        </a:defRPr>
                      </a:pPr>
                      <a:r>
                        <a:t>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latin typeface="Calibri"/>
                        </a:defRPr>
                      </a:pPr>
                      <a:r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latin typeface="Calibri"/>
                        </a:defRPr>
                      </a:pPr>
                      <a:r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latin typeface="Calibri"/>
                        </a:defRPr>
                      </a:pPr>
                      <a:r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latin typeface="Calibri"/>
                        </a:defRPr>
                      </a:pPr>
                      <a:r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latin typeface="Calibri"/>
                        </a:defRPr>
                      </a:pPr>
                      <a:r>
                        <a:t>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457200">
                <a:tc>
                  <a:txBody>
                    <a:bodyPr/>
                    <a:lstStyle/>
                    <a:p>
                      <a:pPr algn="l">
                        <a:defRPr sz="1000">
                          <a:latin typeface="Calibri"/>
                        </a:defRPr>
                      </a:pPr>
                      <a:r>
                        <a:t>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latin typeface="Calibri"/>
                        </a:defRPr>
                      </a:pPr>
                      <a:r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latin typeface="Calibri"/>
                        </a:defRPr>
                      </a:pPr>
                      <a:r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latin typeface="Calibri"/>
                        </a:defRPr>
                      </a:pPr>
                      <a:r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latin typeface="Calibri"/>
                        </a:defRPr>
                      </a:pPr>
                      <a:r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 sz="1000">
                          <a:latin typeface="Calibri"/>
                        </a:defRPr>
                      </a:pPr>
                      <a:r>
                        <a:t>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graphicFrame>
        <p:nvGraphicFramePr>
          <p:cNvPr id="4" name="Chart 3"/>
          <p:cNvGraphicFramePr>
            <a:graphicFrameLocks noGrp="1"/>
          </p:cNvGraphicFramePr>
          <p:nvPr/>
        </p:nvGraphicFramePr>
        <p:xfrm>
          <a:off x="457200" y="914400"/>
          <a:ext cx="5486400" cy="27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5" name="Rectangle 4"/>
          <p:cNvSpPr/>
          <p:nvPr/>
        </p:nvSpPr>
        <p:spPr>
          <a:xfrm>
            <a:off x="6400800" y="914400"/>
            <a:ext cx="1828800" cy="457200"/>
          </a:xfrm>
          <a:prstGeom prst="rect">
            <a:avLst/>
          </a:prstGeom>
          <a:noFill/>
          <a:ln w="12700">
            <a:solidFill>
              <a:srgbClr val="003399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>
              <a:defRPr sz="800" b="1">
                <a:solidFill>
                  <a:srgbClr val="003399"/>
                </a:solidFill>
                <a:latin typeface="Calibri"/>
              </a:defRPr>
            </a:pPr>
            <a:r>
              <a:t>Subject 1</a:t>
            </a:r>
          </a:p>
        </p:txBody>
      </p:sp>
      <p:sp>
        <p:nvSpPr>
          <p:cNvPr id="6" name="Rectangle 5"/>
          <p:cNvSpPr/>
          <p:nvPr/>
        </p:nvSpPr>
        <p:spPr>
          <a:xfrm>
            <a:off x="6400800" y="2286000"/>
            <a:ext cx="1828800" cy="457200"/>
          </a:xfrm>
          <a:prstGeom prst="rect">
            <a:avLst/>
          </a:prstGeom>
          <a:noFill/>
          <a:ln w="12700">
            <a:solidFill>
              <a:srgbClr val="003399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>
              <a:defRPr sz="800" b="1">
                <a:solidFill>
                  <a:srgbClr val="003399"/>
                </a:solidFill>
                <a:latin typeface="Calibri"/>
              </a:defRPr>
            </a:pPr>
            <a:r>
              <a:t>Subject 2</a:t>
            </a:r>
          </a:p>
        </p:txBody>
      </p:sp>
      <p:sp>
        <p:nvSpPr>
          <p:cNvPr id="7" name="Rectangle 6"/>
          <p:cNvSpPr/>
          <p:nvPr/>
        </p:nvSpPr>
        <p:spPr>
          <a:xfrm>
            <a:off x="6400800" y="3657600"/>
            <a:ext cx="1828800" cy="457200"/>
          </a:xfrm>
          <a:prstGeom prst="rect">
            <a:avLst/>
          </a:prstGeom>
          <a:noFill/>
          <a:ln w="12700">
            <a:solidFill>
              <a:srgbClr val="003399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>
              <a:defRPr sz="800" b="1">
                <a:solidFill>
                  <a:srgbClr val="003399"/>
                </a:solidFill>
                <a:latin typeface="Calibri"/>
              </a:defRPr>
            </a:pPr>
            <a:r>
              <a:t>Subject 3</a:t>
            </a:r>
          </a:p>
        </p:txBody>
      </p:sp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8224&quot;&gt;&lt;version val=&quot;35058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Day&gt;&lt;m_yearfmt&gt;&lt;begin val=&quot;0&quot;/&gt;&lt;end val=&quot;4&quot;/&gt;&lt;/m_yearfmt&gt;&lt;/m_precDefaultDay&gt;&lt;m_precDefaultWeek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yearfmt&gt;&lt;begin val=&quot;0&quot;/&gt;&lt;end val=&quot;4&quot;/&gt;&lt;/m_yearfmt&gt;&lt;/m_precDefaultQuarter&gt;&lt;m_precDefaultYear&gt;&lt;m_yearfmt&gt;&lt;begin val=&quot;0&quot;/&gt;&lt;end val=&quot;4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1&quot;&gt;&lt;elem m_fUsage=&quot;1.00000000000000000000E+00&quot;&gt;&lt;m_msothmcolidx val=&quot;0&quot;/&gt;&lt;m_rgb r=&quot;5A&quot; g=&quot;86&quot; b=&quot;D5&quot;/&gt;&lt;/elem&gt;&lt;/m_vecMRU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NguF4Gw2mJIhuiFXm5tKQ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Lvs1S2qnQw1aA01IUaglg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tNN_OdVRnC_8Tatiiw6bA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qRLcqlXddAIBcoL4_FmkA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tNN_OdVRnC_8Tatiiw6bA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9YN2dQEus0quMehzfoUJg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9_f.d6YGbJCbK0.Pg2_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9_f.d6YGbJCbK0.Pg2_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goWEzLgA0_64VDvMxGG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Z96ctUUqJsGDCugslwBC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vhTnprpZIIVVQCOTQtpLw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vs3CU0mhZ0iF9VK3Gc_gQ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rcAbB4u0quRffFN3bn3Xw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CET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G_9mniplMrafceMpP.Qwg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bEQ8aI7AKzsdxigcAG3ZA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Lvs1S2qnQw1aA01IUaglg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UyDlDqWonv3hoAx.p9Rsw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9xgrPArEB1mEiMOhB5KGA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White">
  <a:themeElements>
    <a:clrScheme name="Scheme1">
      <a:dk1>
        <a:srgbClr val="000000"/>
      </a:dk1>
      <a:lt1>
        <a:srgbClr val="FFFFFF"/>
      </a:lt1>
      <a:dk2>
        <a:srgbClr val="FFFFFF"/>
      </a:dk2>
      <a:lt2>
        <a:srgbClr val="FFFFFF"/>
      </a:lt2>
      <a:accent1>
        <a:srgbClr val="0E5D9D"/>
      </a:accent1>
      <a:accent2>
        <a:srgbClr val="009CDA"/>
      </a:accent2>
      <a:accent3>
        <a:srgbClr val="7DBAE7"/>
      </a:accent3>
      <a:accent4>
        <a:srgbClr val="C9F0FF"/>
      </a:accent4>
      <a:accent5>
        <a:srgbClr val="969696"/>
      </a:accent5>
      <a:accent6>
        <a:srgbClr val="DDDDDD"/>
      </a:accent6>
      <a:hlink>
        <a:srgbClr val="0000FF"/>
      </a:hlink>
      <a:folHlink>
        <a:srgbClr val="800080"/>
      </a:folHlink>
    </a:clrScheme>
    <a:fontScheme name="Custom 13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1">
        <a:dk1>
          <a:srgbClr val="000000"/>
        </a:dk1>
        <a:lt1>
          <a:srgbClr val="FFFFFF"/>
        </a:lt1>
        <a:dk2>
          <a:srgbClr val="FFFFFF"/>
        </a:dk2>
        <a:lt2>
          <a:srgbClr val="FFFFFF"/>
        </a:lt2>
        <a:accent1>
          <a:srgbClr val="0E5D9D"/>
        </a:accent1>
        <a:accent2>
          <a:srgbClr val="009CDA"/>
        </a:accent2>
        <a:accent3>
          <a:srgbClr val="7DBAE7"/>
        </a:accent3>
        <a:accent4>
          <a:srgbClr val="C9F0FF"/>
        </a:accent4>
        <a:accent5>
          <a:srgbClr val="969696"/>
        </a:accent5>
        <a:accent6>
          <a:srgbClr val="DDDDDD"/>
        </a:accent6>
        <a:hlink>
          <a:srgbClr val="0000FF"/>
        </a:hlink>
        <a:folHlink>
          <a:srgbClr val="800080"/>
        </a:folHlink>
      </a:clrScheme>
    </a:extraClrScheme>
  </a:extraClrSchemeLst>
  <a:custClrLst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</a:custClrLst>
  <a:extLst>
    <a:ext uri="{05A4C25C-085E-4340-85A3-A5531E510DB2}">
      <thm15:themeFamily xmlns:thm15="http://schemas.microsoft.com/office/thememl/2012/main" name="Slide template" id="{2205DEC8-79E5-4F6F-887A-26FD229C43AD}" vid="{B3B78B48-1825-4DEC-BE9B-3BA6E4B0F5B9}"/>
    </a:ext>
  </a:extLst>
</a:theme>
</file>

<file path=docMetadata/LabelInfo.xml><?xml version="1.0" encoding="utf-8"?>
<clbl:labelList xmlns:clbl="http://schemas.microsoft.com/office/2020/mipLabelMetadata">
  <clbl:label id="{101ce67d-13f2-447a-bb65-0989b89dfdb4}" enabled="0" method="" siteId="{101ce67d-13f2-447a-bb65-0989b89dfdb4}" removed="1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2</TotalTime>
  <Words>1374</Words>
  <Application>Microsoft Office PowerPoint</Application>
  <PresentationFormat>Widescreen</PresentationFormat>
  <Paragraphs>684</Paragraphs>
  <Slides>10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0</vt:i4>
      </vt:variant>
    </vt:vector>
  </HeadingPairs>
  <TitlesOfParts>
    <vt:vector size="17" baseType="lpstr">
      <vt:lpstr>Arial</vt:lpstr>
      <vt:lpstr>Calibri</vt:lpstr>
      <vt:lpstr>Georgia</vt:lpstr>
      <vt:lpstr>Segoe UI</vt:lpstr>
      <vt:lpstr>Wingdings</vt:lpstr>
      <vt:lpstr>White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Wates, Peyton H</dc:creator>
  <cp:lastModifiedBy>Wates, Peyton H</cp:lastModifiedBy>
  <cp:revision>3</cp:revision>
  <dcterms:created xsi:type="dcterms:W3CDTF">2023-05-24T13:22:04Z</dcterms:created>
  <dcterms:modified xsi:type="dcterms:W3CDTF">2025-01-09T14:24:56Z</dcterms:modified>
</cp:coreProperties>
</file>